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theme/theme3.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4.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6.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7.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8.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9.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0.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11.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2.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13.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14.xml" ContentType="application/vnd.openxmlformats-officedocument.theme+xml"/>
  <Override PartName="/ppt/tags/tag3.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15.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7.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8.xml" ContentType="application/vnd.openxmlformats-officedocument.theme+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9.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20.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21.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22.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23.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24.xml" ContentType="application/vnd.openxmlformats-officedocument.theme+xml"/>
  <Override PartName="/ppt/theme/theme25.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4" r:id="rId4"/>
    <p:sldMasterId id="2147483807" r:id="rId5"/>
    <p:sldMasterId id="2147483846" r:id="rId6"/>
    <p:sldMasterId id="2147483856" r:id="rId7"/>
    <p:sldMasterId id="2147483860" r:id="rId8"/>
    <p:sldMasterId id="2147483870" r:id="rId9"/>
    <p:sldMasterId id="2147483879" r:id="rId10"/>
    <p:sldMasterId id="2147483890" r:id="rId11"/>
    <p:sldMasterId id="2147483897" r:id="rId12"/>
    <p:sldMasterId id="2147483908" r:id="rId13"/>
    <p:sldMasterId id="2147483924" r:id="rId14"/>
    <p:sldMasterId id="2147483928" r:id="rId15"/>
    <p:sldMasterId id="2147483936" r:id="rId16"/>
    <p:sldMasterId id="2147483939" r:id="rId17"/>
    <p:sldMasterId id="2147483951" r:id="rId18"/>
    <p:sldMasterId id="2147483961" r:id="rId19"/>
    <p:sldMasterId id="2147483969" r:id="rId20"/>
    <p:sldMasterId id="2147483972" r:id="rId21"/>
    <p:sldMasterId id="2147483989" r:id="rId22"/>
    <p:sldMasterId id="2147483992" r:id="rId23"/>
    <p:sldMasterId id="2147484005" r:id="rId24"/>
    <p:sldMasterId id="2147484018" r:id="rId25"/>
    <p:sldMasterId id="2147484034" r:id="rId26"/>
    <p:sldMasterId id="2147484047" r:id="rId27"/>
  </p:sldMasterIdLst>
  <p:notesMasterIdLst>
    <p:notesMasterId r:id="rId47"/>
  </p:notesMasterIdLst>
  <p:sldIdLst>
    <p:sldId id="3502" r:id="rId28"/>
    <p:sldId id="3518" r:id="rId29"/>
    <p:sldId id="3540" r:id="rId30"/>
    <p:sldId id="3535" r:id="rId31"/>
    <p:sldId id="3513" r:id="rId32"/>
    <p:sldId id="3524" r:id="rId33"/>
    <p:sldId id="3530" r:id="rId34"/>
    <p:sldId id="3529" r:id="rId35"/>
    <p:sldId id="3526" r:id="rId36"/>
    <p:sldId id="3525" r:id="rId37"/>
    <p:sldId id="3527" r:id="rId38"/>
    <p:sldId id="3528" r:id="rId39"/>
    <p:sldId id="3536" r:id="rId40"/>
    <p:sldId id="3531" r:id="rId41"/>
    <p:sldId id="3532" r:id="rId42"/>
    <p:sldId id="3534" r:id="rId43"/>
    <p:sldId id="3537" r:id="rId44"/>
    <p:sldId id="3538" r:id="rId45"/>
    <p:sldId id="3522" r:id="rId46"/>
  </p:sldIdLst>
  <p:sldSz cx="12169775" cy="6840538"/>
  <p:notesSz cx="6797675" cy="9928225"/>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54">
          <p15:clr>
            <a:srgbClr val="A4A3A4"/>
          </p15:clr>
        </p15:guide>
        <p15:guide id="2" pos="3833">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rmisse Béatrice (SAI)" initials="BeEm"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9497"/>
    <a:srgbClr val="0091D2"/>
    <a:srgbClr val="968C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591FB47-B660-4782-B8F7-B4F4886E45BC}" v="328" dt="2020-04-16T14:04:37.645"/>
    <p1510:client id="{CE10E405-7770-5998-E414-12AB9E56D2D6}" v="2" dt="2020-04-16T09:12:48.770"/>
    <p1510:client id="{EA40D78A-7237-4472-A9FC-1C2D62867DD0}" v="4" dt="2020-04-16T17:21:43.5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47" autoAdjust="0"/>
    <p:restoredTop sz="70494" autoAdjust="0"/>
  </p:normalViewPr>
  <p:slideViewPr>
    <p:cSldViewPr>
      <p:cViewPr varScale="1">
        <p:scale>
          <a:sx n="114" d="100"/>
          <a:sy n="114" d="100"/>
        </p:scale>
        <p:origin x="474" y="108"/>
      </p:cViewPr>
      <p:guideLst>
        <p:guide orient="horz" pos="2154"/>
        <p:guide pos="3833"/>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2.xml"/><Relationship Id="rId21" Type="http://schemas.openxmlformats.org/officeDocument/2006/relationships/slideMaster" Target="slideMasters/slideMaster18.xml"/><Relationship Id="rId34" Type="http://schemas.openxmlformats.org/officeDocument/2006/relationships/slide" Target="slides/slide7.xml"/><Relationship Id="rId42" Type="http://schemas.openxmlformats.org/officeDocument/2006/relationships/slide" Target="slides/slide15.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2.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slide" Target="slides/slide18.xml"/><Relationship Id="rId53" Type="http://schemas.microsoft.com/office/2016/11/relationships/changesInfo" Target="changesInfos/changesInfo1.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4.xml"/><Relationship Id="rId44" Type="http://schemas.openxmlformats.org/officeDocument/2006/relationships/slide" Target="slides/slide17.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slide" Target="slides/slide19.xml"/><Relationship Id="rId20" Type="http://schemas.openxmlformats.org/officeDocument/2006/relationships/slideMaster" Target="slideMasters/slideMaster17.xml"/><Relationship Id="rId41" Type="http://schemas.openxmlformats.org/officeDocument/2006/relationships/slide" Target="slides/slide14.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tin Filzmair" userId="9f2635aa-98bd-488f-8ebc-52634097194c" providerId="ADAL" clId="{EA40D78A-7237-4472-A9FC-1C2D62867DD0}"/>
    <pc:docChg chg="custSel delSld modSld sldOrd">
      <pc:chgData name="Martin Filzmair" userId="9f2635aa-98bd-488f-8ebc-52634097194c" providerId="ADAL" clId="{EA40D78A-7237-4472-A9FC-1C2D62867DD0}" dt="2020-04-16T17:21:33.983" v="434" actId="20577"/>
      <pc:docMkLst>
        <pc:docMk/>
      </pc:docMkLst>
      <pc:sldChg chg="modSp">
        <pc:chgData name="Martin Filzmair" userId="9f2635aa-98bd-488f-8ebc-52634097194c" providerId="ADAL" clId="{EA40D78A-7237-4472-A9FC-1C2D62867DD0}" dt="2020-04-16T17:21:33.983" v="434" actId="20577"/>
        <pc:sldMkLst>
          <pc:docMk/>
          <pc:sldMk cId="1723630821" sldId="3502"/>
        </pc:sldMkLst>
        <pc:spChg chg="mod">
          <ac:chgData name="Martin Filzmair" userId="9f2635aa-98bd-488f-8ebc-52634097194c" providerId="ADAL" clId="{EA40D78A-7237-4472-A9FC-1C2D62867DD0}" dt="2020-04-16T17:21:33.983" v="434" actId="20577"/>
          <ac:spMkLst>
            <pc:docMk/>
            <pc:sldMk cId="1723630821" sldId="3502"/>
            <ac:spMk id="6" creationId="{00000000-0000-0000-0000-000000000000}"/>
          </ac:spMkLst>
        </pc:spChg>
      </pc:sldChg>
      <pc:sldChg chg="delSp">
        <pc:chgData name="Martin Filzmair" userId="9f2635aa-98bd-488f-8ebc-52634097194c" providerId="ADAL" clId="{EA40D78A-7237-4472-A9FC-1C2D62867DD0}" dt="2020-04-16T14:22:30.726" v="64" actId="478"/>
        <pc:sldMkLst>
          <pc:docMk/>
          <pc:sldMk cId="4240374056" sldId="3513"/>
        </pc:sldMkLst>
        <pc:spChg chg="del">
          <ac:chgData name="Martin Filzmair" userId="9f2635aa-98bd-488f-8ebc-52634097194c" providerId="ADAL" clId="{EA40D78A-7237-4472-A9FC-1C2D62867DD0}" dt="2020-04-16T14:22:30.726" v="64" actId="478"/>
          <ac:spMkLst>
            <pc:docMk/>
            <pc:sldMk cId="4240374056" sldId="3513"/>
            <ac:spMk id="30" creationId="{4106314D-28D1-4720-B299-B121176B10FB}"/>
          </ac:spMkLst>
        </pc:spChg>
      </pc:sldChg>
      <pc:sldChg chg="delSp modSp">
        <pc:chgData name="Martin Filzmair" userId="9f2635aa-98bd-488f-8ebc-52634097194c" providerId="ADAL" clId="{EA40D78A-7237-4472-A9FC-1C2D62867DD0}" dt="2020-04-16T14:30:48.052" v="392" actId="20577"/>
        <pc:sldMkLst>
          <pc:docMk/>
          <pc:sldMk cId="1359919869" sldId="3518"/>
        </pc:sldMkLst>
        <pc:spChg chg="mod">
          <ac:chgData name="Martin Filzmair" userId="9f2635aa-98bd-488f-8ebc-52634097194c" providerId="ADAL" clId="{EA40D78A-7237-4472-A9FC-1C2D62867DD0}" dt="2020-04-16T14:21:07.995" v="5" actId="20577"/>
          <ac:spMkLst>
            <pc:docMk/>
            <pc:sldMk cId="1359919869" sldId="3518"/>
            <ac:spMk id="10" creationId="{2A2389B1-F89D-4E63-9F0D-E1C9576302CE}"/>
          </ac:spMkLst>
        </pc:spChg>
        <pc:spChg chg="mod">
          <ac:chgData name="Martin Filzmair" userId="9f2635aa-98bd-488f-8ebc-52634097194c" providerId="ADAL" clId="{EA40D78A-7237-4472-A9FC-1C2D62867DD0}" dt="2020-04-16T14:30:48.052" v="392" actId="20577"/>
          <ac:spMkLst>
            <pc:docMk/>
            <pc:sldMk cId="1359919869" sldId="3518"/>
            <ac:spMk id="11" creationId="{0FB7D7A6-F5EF-451A-BFFD-A091CC21B3B1}"/>
          </ac:spMkLst>
        </pc:spChg>
        <pc:spChg chg="del">
          <ac:chgData name="Martin Filzmair" userId="9f2635aa-98bd-488f-8ebc-52634097194c" providerId="ADAL" clId="{EA40D78A-7237-4472-A9FC-1C2D62867DD0}" dt="2020-04-16T14:21:00.444" v="4" actId="478"/>
          <ac:spMkLst>
            <pc:docMk/>
            <pc:sldMk cId="1359919869" sldId="3518"/>
            <ac:spMk id="17" creationId="{75998C37-D6B7-4E84-B195-FB4FA8E50A8E}"/>
          </ac:spMkLst>
        </pc:spChg>
      </pc:sldChg>
      <pc:sldChg chg="del">
        <pc:chgData name="Martin Filzmair" userId="9f2635aa-98bd-488f-8ebc-52634097194c" providerId="ADAL" clId="{EA40D78A-7237-4472-A9FC-1C2D62867DD0}" dt="2020-04-16T14:23:12.509" v="78" actId="2696"/>
        <pc:sldMkLst>
          <pc:docMk/>
          <pc:sldMk cId="19877614" sldId="3523"/>
        </pc:sldMkLst>
      </pc:sldChg>
      <pc:sldChg chg="delSp modSp">
        <pc:chgData name="Martin Filzmair" userId="9f2635aa-98bd-488f-8ebc-52634097194c" providerId="ADAL" clId="{EA40D78A-7237-4472-A9FC-1C2D62867DD0}" dt="2020-04-16T14:22:35.233" v="66" actId="478"/>
        <pc:sldMkLst>
          <pc:docMk/>
          <pc:sldMk cId="93365489" sldId="3524"/>
        </pc:sldMkLst>
        <pc:spChg chg="del mod">
          <ac:chgData name="Martin Filzmair" userId="9f2635aa-98bd-488f-8ebc-52634097194c" providerId="ADAL" clId="{EA40D78A-7237-4472-A9FC-1C2D62867DD0}" dt="2020-04-16T14:22:35.233" v="66" actId="478"/>
          <ac:spMkLst>
            <pc:docMk/>
            <pc:sldMk cId="93365489" sldId="3524"/>
            <ac:spMk id="18" creationId="{02E60335-8242-4AF4-A7AB-B658404029B1}"/>
          </ac:spMkLst>
        </pc:spChg>
      </pc:sldChg>
      <pc:sldChg chg="delSp">
        <pc:chgData name="Martin Filzmair" userId="9f2635aa-98bd-488f-8ebc-52634097194c" providerId="ADAL" clId="{EA40D78A-7237-4472-A9FC-1C2D62867DD0}" dt="2020-04-16T14:22:47.170" v="70" actId="478"/>
        <pc:sldMkLst>
          <pc:docMk/>
          <pc:sldMk cId="2460749138" sldId="3525"/>
        </pc:sldMkLst>
        <pc:spChg chg="del">
          <ac:chgData name="Martin Filzmair" userId="9f2635aa-98bd-488f-8ebc-52634097194c" providerId="ADAL" clId="{EA40D78A-7237-4472-A9FC-1C2D62867DD0}" dt="2020-04-16T14:22:47.170" v="70" actId="478"/>
          <ac:spMkLst>
            <pc:docMk/>
            <pc:sldMk cId="2460749138" sldId="3525"/>
            <ac:spMk id="7" creationId="{C6D6340E-8629-46F6-B1FD-A9D364B312D0}"/>
          </ac:spMkLst>
        </pc:spChg>
      </pc:sldChg>
      <pc:sldChg chg="delSp">
        <pc:chgData name="Martin Filzmair" userId="9f2635aa-98bd-488f-8ebc-52634097194c" providerId="ADAL" clId="{EA40D78A-7237-4472-A9FC-1C2D62867DD0}" dt="2020-04-16T14:22:44.153" v="69" actId="478"/>
        <pc:sldMkLst>
          <pc:docMk/>
          <pc:sldMk cId="1762788070" sldId="3526"/>
        </pc:sldMkLst>
        <pc:spChg chg="del">
          <ac:chgData name="Martin Filzmair" userId="9f2635aa-98bd-488f-8ebc-52634097194c" providerId="ADAL" clId="{EA40D78A-7237-4472-A9FC-1C2D62867DD0}" dt="2020-04-16T14:22:44.153" v="69" actId="478"/>
          <ac:spMkLst>
            <pc:docMk/>
            <pc:sldMk cId="1762788070" sldId="3526"/>
            <ac:spMk id="8" creationId="{A5019824-C5BD-44A5-BECD-44ABFD85FD18}"/>
          </ac:spMkLst>
        </pc:spChg>
      </pc:sldChg>
      <pc:sldChg chg="delSp">
        <pc:chgData name="Martin Filzmair" userId="9f2635aa-98bd-488f-8ebc-52634097194c" providerId="ADAL" clId="{EA40D78A-7237-4472-A9FC-1C2D62867DD0}" dt="2020-04-16T14:22:51.318" v="71" actId="478"/>
        <pc:sldMkLst>
          <pc:docMk/>
          <pc:sldMk cId="1992220464" sldId="3527"/>
        </pc:sldMkLst>
        <pc:spChg chg="del">
          <ac:chgData name="Martin Filzmair" userId="9f2635aa-98bd-488f-8ebc-52634097194c" providerId="ADAL" clId="{EA40D78A-7237-4472-A9FC-1C2D62867DD0}" dt="2020-04-16T14:22:51.318" v="71" actId="478"/>
          <ac:spMkLst>
            <pc:docMk/>
            <pc:sldMk cId="1992220464" sldId="3527"/>
            <ac:spMk id="8" creationId="{7A933078-9FC5-4FBB-8747-0E3C8538D1A3}"/>
          </ac:spMkLst>
        </pc:spChg>
      </pc:sldChg>
      <pc:sldChg chg="delSp">
        <pc:chgData name="Martin Filzmair" userId="9f2635aa-98bd-488f-8ebc-52634097194c" providerId="ADAL" clId="{EA40D78A-7237-4472-A9FC-1C2D62867DD0}" dt="2020-04-16T14:22:54.256" v="72" actId="478"/>
        <pc:sldMkLst>
          <pc:docMk/>
          <pc:sldMk cId="1445228863" sldId="3528"/>
        </pc:sldMkLst>
        <pc:spChg chg="del">
          <ac:chgData name="Martin Filzmair" userId="9f2635aa-98bd-488f-8ebc-52634097194c" providerId="ADAL" clId="{EA40D78A-7237-4472-A9FC-1C2D62867DD0}" dt="2020-04-16T14:22:54.256" v="72" actId="478"/>
          <ac:spMkLst>
            <pc:docMk/>
            <pc:sldMk cId="1445228863" sldId="3528"/>
            <ac:spMk id="8" creationId="{53AF9F4E-673D-4758-8094-1F55F6DDFB72}"/>
          </ac:spMkLst>
        </pc:spChg>
      </pc:sldChg>
      <pc:sldChg chg="delSp">
        <pc:chgData name="Martin Filzmair" userId="9f2635aa-98bd-488f-8ebc-52634097194c" providerId="ADAL" clId="{EA40D78A-7237-4472-A9FC-1C2D62867DD0}" dt="2020-04-16T14:22:41.588" v="68" actId="478"/>
        <pc:sldMkLst>
          <pc:docMk/>
          <pc:sldMk cId="848648234" sldId="3529"/>
        </pc:sldMkLst>
        <pc:spChg chg="del">
          <ac:chgData name="Martin Filzmair" userId="9f2635aa-98bd-488f-8ebc-52634097194c" providerId="ADAL" clId="{EA40D78A-7237-4472-A9FC-1C2D62867DD0}" dt="2020-04-16T14:22:41.588" v="68" actId="478"/>
          <ac:spMkLst>
            <pc:docMk/>
            <pc:sldMk cId="848648234" sldId="3529"/>
            <ac:spMk id="8" creationId="{B66B4594-B4AE-4C8F-8E82-03F4E28AC892}"/>
          </ac:spMkLst>
        </pc:spChg>
      </pc:sldChg>
      <pc:sldChg chg="delSp">
        <pc:chgData name="Martin Filzmair" userId="9f2635aa-98bd-488f-8ebc-52634097194c" providerId="ADAL" clId="{EA40D78A-7237-4472-A9FC-1C2D62867DD0}" dt="2020-04-16T14:22:37.674" v="67" actId="478"/>
        <pc:sldMkLst>
          <pc:docMk/>
          <pc:sldMk cId="4097156273" sldId="3530"/>
        </pc:sldMkLst>
        <pc:spChg chg="del">
          <ac:chgData name="Martin Filzmair" userId="9f2635aa-98bd-488f-8ebc-52634097194c" providerId="ADAL" clId="{EA40D78A-7237-4472-A9FC-1C2D62867DD0}" dt="2020-04-16T14:22:37.674" v="67" actId="478"/>
          <ac:spMkLst>
            <pc:docMk/>
            <pc:sldMk cId="4097156273" sldId="3530"/>
            <ac:spMk id="8" creationId="{05806A6F-D86C-450D-A963-12FE63477F90}"/>
          </ac:spMkLst>
        </pc:spChg>
      </pc:sldChg>
      <pc:sldChg chg="delSp">
        <pc:chgData name="Martin Filzmair" userId="9f2635aa-98bd-488f-8ebc-52634097194c" providerId="ADAL" clId="{EA40D78A-7237-4472-A9FC-1C2D62867DD0}" dt="2020-04-16T14:23:00.029" v="74" actId="478"/>
        <pc:sldMkLst>
          <pc:docMk/>
          <pc:sldMk cId="3702704163" sldId="3531"/>
        </pc:sldMkLst>
        <pc:spChg chg="del">
          <ac:chgData name="Martin Filzmair" userId="9f2635aa-98bd-488f-8ebc-52634097194c" providerId="ADAL" clId="{EA40D78A-7237-4472-A9FC-1C2D62867DD0}" dt="2020-04-16T14:23:00.029" v="74" actId="478"/>
          <ac:spMkLst>
            <pc:docMk/>
            <pc:sldMk cId="3702704163" sldId="3531"/>
            <ac:spMk id="8" creationId="{376AA8CB-107D-463D-9BC6-C294967F6DAD}"/>
          </ac:spMkLst>
        </pc:spChg>
      </pc:sldChg>
      <pc:sldChg chg="delSp">
        <pc:chgData name="Martin Filzmair" userId="9f2635aa-98bd-488f-8ebc-52634097194c" providerId="ADAL" clId="{EA40D78A-7237-4472-A9FC-1C2D62867DD0}" dt="2020-04-16T14:23:02.828" v="75" actId="478"/>
        <pc:sldMkLst>
          <pc:docMk/>
          <pc:sldMk cId="2241364271" sldId="3532"/>
        </pc:sldMkLst>
        <pc:spChg chg="del">
          <ac:chgData name="Martin Filzmair" userId="9f2635aa-98bd-488f-8ebc-52634097194c" providerId="ADAL" clId="{EA40D78A-7237-4472-A9FC-1C2D62867DD0}" dt="2020-04-16T14:23:02.828" v="75" actId="478"/>
          <ac:spMkLst>
            <pc:docMk/>
            <pc:sldMk cId="2241364271" sldId="3532"/>
            <ac:spMk id="10" creationId="{ABD25B12-A412-4A5B-B365-D00D93D3199F}"/>
          </ac:spMkLst>
        </pc:spChg>
      </pc:sldChg>
      <pc:sldChg chg="delSp">
        <pc:chgData name="Martin Filzmair" userId="9f2635aa-98bd-488f-8ebc-52634097194c" providerId="ADAL" clId="{EA40D78A-7237-4472-A9FC-1C2D62867DD0}" dt="2020-04-16T14:23:04.899" v="76" actId="478"/>
        <pc:sldMkLst>
          <pc:docMk/>
          <pc:sldMk cId="2267681403" sldId="3534"/>
        </pc:sldMkLst>
        <pc:spChg chg="del">
          <ac:chgData name="Martin Filzmair" userId="9f2635aa-98bd-488f-8ebc-52634097194c" providerId="ADAL" clId="{EA40D78A-7237-4472-A9FC-1C2D62867DD0}" dt="2020-04-16T14:23:04.899" v="76" actId="478"/>
          <ac:spMkLst>
            <pc:docMk/>
            <pc:sldMk cId="2267681403" sldId="3534"/>
            <ac:spMk id="7" creationId="{28855766-3C09-40F7-A2A8-63724D7A1387}"/>
          </ac:spMkLst>
        </pc:spChg>
      </pc:sldChg>
      <pc:sldChg chg="delSp modSp">
        <pc:chgData name="Martin Filzmair" userId="9f2635aa-98bd-488f-8ebc-52634097194c" providerId="ADAL" clId="{EA40D78A-7237-4472-A9FC-1C2D62867DD0}" dt="2020-04-16T14:21:13.151" v="7" actId="478"/>
        <pc:sldMkLst>
          <pc:docMk/>
          <pc:sldMk cId="793472673" sldId="3535"/>
        </pc:sldMkLst>
        <pc:spChg chg="del mod">
          <ac:chgData name="Martin Filzmair" userId="9f2635aa-98bd-488f-8ebc-52634097194c" providerId="ADAL" clId="{EA40D78A-7237-4472-A9FC-1C2D62867DD0}" dt="2020-04-16T14:21:13.151" v="7" actId="478"/>
          <ac:spMkLst>
            <pc:docMk/>
            <pc:sldMk cId="793472673" sldId="3535"/>
            <ac:spMk id="13" creationId="{58C60D9B-A2C2-43F9-AEED-96EB2805EE4D}"/>
          </ac:spMkLst>
        </pc:spChg>
      </pc:sldChg>
      <pc:sldChg chg="delSp">
        <pc:chgData name="Martin Filzmair" userId="9f2635aa-98bd-488f-8ebc-52634097194c" providerId="ADAL" clId="{EA40D78A-7237-4472-A9FC-1C2D62867DD0}" dt="2020-04-16T14:22:56.872" v="73" actId="478"/>
        <pc:sldMkLst>
          <pc:docMk/>
          <pc:sldMk cId="109985368" sldId="3536"/>
        </pc:sldMkLst>
        <pc:spChg chg="del">
          <ac:chgData name="Martin Filzmair" userId="9f2635aa-98bd-488f-8ebc-52634097194c" providerId="ADAL" clId="{EA40D78A-7237-4472-A9FC-1C2D62867DD0}" dt="2020-04-16T14:22:56.872" v="73" actId="478"/>
          <ac:spMkLst>
            <pc:docMk/>
            <pc:sldMk cId="109985368" sldId="3536"/>
            <ac:spMk id="23" creationId="{4FF89AB8-653C-4527-84C5-764A1BA153D6}"/>
          </ac:spMkLst>
        </pc:spChg>
      </pc:sldChg>
      <pc:sldChg chg="delSp">
        <pc:chgData name="Martin Filzmair" userId="9f2635aa-98bd-488f-8ebc-52634097194c" providerId="ADAL" clId="{EA40D78A-7237-4472-A9FC-1C2D62867DD0}" dt="2020-04-16T14:23:07.797" v="77" actId="478"/>
        <pc:sldMkLst>
          <pc:docMk/>
          <pc:sldMk cId="1239150968" sldId="3537"/>
        </pc:sldMkLst>
        <pc:spChg chg="del">
          <ac:chgData name="Martin Filzmair" userId="9f2635aa-98bd-488f-8ebc-52634097194c" providerId="ADAL" clId="{EA40D78A-7237-4472-A9FC-1C2D62867DD0}" dt="2020-04-16T14:23:07.797" v="77" actId="478"/>
          <ac:spMkLst>
            <pc:docMk/>
            <pc:sldMk cId="1239150968" sldId="3537"/>
            <ac:spMk id="15" creationId="{EAB5C74A-E191-47EC-A8E4-8816F5586EBA}"/>
          </ac:spMkLst>
        </pc:spChg>
      </pc:sldChg>
      <pc:sldChg chg="delSp modSp">
        <pc:chgData name="Martin Filzmair" userId="9f2635aa-98bd-488f-8ebc-52634097194c" providerId="ADAL" clId="{EA40D78A-7237-4472-A9FC-1C2D62867DD0}" dt="2020-04-16T14:27:27.729" v="362" actId="20577"/>
        <pc:sldMkLst>
          <pc:docMk/>
          <pc:sldMk cId="3433864518" sldId="3538"/>
        </pc:sldMkLst>
        <pc:spChg chg="mod">
          <ac:chgData name="Martin Filzmair" userId="9f2635aa-98bd-488f-8ebc-52634097194c" providerId="ADAL" clId="{EA40D78A-7237-4472-A9FC-1C2D62867DD0}" dt="2020-04-16T14:27:27.729" v="362" actId="20577"/>
          <ac:spMkLst>
            <pc:docMk/>
            <pc:sldMk cId="3433864518" sldId="3538"/>
            <ac:spMk id="3" creationId="{65985017-BCA0-4AFE-AAFB-EC6F64DEC424}"/>
          </ac:spMkLst>
        </pc:spChg>
        <pc:spChg chg="del">
          <ac:chgData name="Martin Filzmair" userId="9f2635aa-98bd-488f-8ebc-52634097194c" providerId="ADAL" clId="{EA40D78A-7237-4472-A9FC-1C2D62867DD0}" dt="2020-04-16T14:25:43.887" v="260" actId="478"/>
          <ac:spMkLst>
            <pc:docMk/>
            <pc:sldMk cId="3433864518" sldId="3538"/>
            <ac:spMk id="7" creationId="{9291EDAD-CBFD-4A5E-8557-42AEC4BC54A7}"/>
          </ac:spMkLst>
        </pc:spChg>
      </pc:sldChg>
      <pc:sldChg chg="del">
        <pc:chgData name="Martin Filzmair" userId="9f2635aa-98bd-488f-8ebc-52634097194c" providerId="ADAL" clId="{EA40D78A-7237-4472-A9FC-1C2D62867DD0}" dt="2020-04-16T14:27:34.395" v="363" actId="2696"/>
        <pc:sldMkLst>
          <pc:docMk/>
          <pc:sldMk cId="253843031" sldId="3539"/>
        </pc:sldMkLst>
      </pc:sldChg>
      <pc:sldChg chg="delSp modSp ord">
        <pc:chgData name="Martin Filzmair" userId="9f2635aa-98bd-488f-8ebc-52634097194c" providerId="ADAL" clId="{EA40D78A-7237-4472-A9FC-1C2D62867DD0}" dt="2020-04-16T17:08:01.649" v="433"/>
        <pc:sldMkLst>
          <pc:docMk/>
          <pc:sldMk cId="475229487" sldId="3540"/>
        </pc:sldMkLst>
        <pc:spChg chg="mod">
          <ac:chgData name="Martin Filzmair" userId="9f2635aa-98bd-488f-8ebc-52634097194c" providerId="ADAL" clId="{EA40D78A-7237-4472-A9FC-1C2D62867DD0}" dt="2020-04-16T17:07:03.923" v="431" actId="1035"/>
          <ac:spMkLst>
            <pc:docMk/>
            <pc:sldMk cId="475229487" sldId="3540"/>
            <ac:spMk id="22" creationId="{5804852D-6D79-4C7E-AC51-B72506E738B1}"/>
          </ac:spMkLst>
        </pc:spChg>
        <pc:spChg chg="mod">
          <ac:chgData name="Martin Filzmair" userId="9f2635aa-98bd-488f-8ebc-52634097194c" providerId="ADAL" clId="{EA40D78A-7237-4472-A9FC-1C2D62867DD0}" dt="2020-04-16T17:07:03.923" v="431" actId="1035"/>
          <ac:spMkLst>
            <pc:docMk/>
            <pc:sldMk cId="475229487" sldId="3540"/>
            <ac:spMk id="23" creationId="{021053BD-B4F6-4D8C-BF23-21480AB2F071}"/>
          </ac:spMkLst>
        </pc:spChg>
        <pc:spChg chg="mod">
          <ac:chgData name="Martin Filzmair" userId="9f2635aa-98bd-488f-8ebc-52634097194c" providerId="ADAL" clId="{EA40D78A-7237-4472-A9FC-1C2D62867DD0}" dt="2020-04-16T17:07:03.923" v="431" actId="1035"/>
          <ac:spMkLst>
            <pc:docMk/>
            <pc:sldMk cId="475229487" sldId="3540"/>
            <ac:spMk id="24" creationId="{D76DF2BA-3724-41F3-9392-231A6EFDF1EC}"/>
          </ac:spMkLst>
        </pc:spChg>
        <pc:spChg chg="mod">
          <ac:chgData name="Martin Filzmair" userId="9f2635aa-98bd-488f-8ebc-52634097194c" providerId="ADAL" clId="{EA40D78A-7237-4472-A9FC-1C2D62867DD0}" dt="2020-04-16T14:29:59.589" v="389" actId="1038"/>
          <ac:spMkLst>
            <pc:docMk/>
            <pc:sldMk cId="475229487" sldId="3540"/>
            <ac:spMk id="25" creationId="{CF9C43F9-3E61-49F5-B8F0-3516E8FA424E}"/>
          </ac:spMkLst>
        </pc:spChg>
        <pc:spChg chg="mod">
          <ac:chgData name="Martin Filzmair" userId="9f2635aa-98bd-488f-8ebc-52634097194c" providerId="ADAL" clId="{EA40D78A-7237-4472-A9FC-1C2D62867DD0}" dt="2020-04-16T17:07:03.923" v="431" actId="1035"/>
          <ac:spMkLst>
            <pc:docMk/>
            <pc:sldMk cId="475229487" sldId="3540"/>
            <ac:spMk id="27" creationId="{D5876BDB-4F53-418F-872C-71F71A10A82B}"/>
          </ac:spMkLst>
        </pc:spChg>
        <pc:spChg chg="mod">
          <ac:chgData name="Martin Filzmair" userId="9f2635aa-98bd-488f-8ebc-52634097194c" providerId="ADAL" clId="{EA40D78A-7237-4472-A9FC-1C2D62867DD0}" dt="2020-04-16T16:53:06.254" v="397" actId="1037"/>
          <ac:spMkLst>
            <pc:docMk/>
            <pc:sldMk cId="475229487" sldId="3540"/>
            <ac:spMk id="30" creationId="{A05A7258-0166-4C5A-8A52-12C46AA81068}"/>
          </ac:spMkLst>
        </pc:spChg>
        <pc:spChg chg="mod">
          <ac:chgData name="Martin Filzmair" userId="9f2635aa-98bd-488f-8ebc-52634097194c" providerId="ADAL" clId="{EA40D78A-7237-4472-A9FC-1C2D62867DD0}" dt="2020-04-16T14:29:55.182" v="385" actId="1038"/>
          <ac:spMkLst>
            <pc:docMk/>
            <pc:sldMk cId="475229487" sldId="3540"/>
            <ac:spMk id="31" creationId="{757D6726-815B-42C4-ACD6-C3B50DA43C6F}"/>
          </ac:spMkLst>
        </pc:spChg>
        <pc:spChg chg="del">
          <ac:chgData name="Martin Filzmair" userId="9f2635aa-98bd-488f-8ebc-52634097194c" providerId="ADAL" clId="{EA40D78A-7237-4472-A9FC-1C2D62867DD0}" dt="2020-04-16T14:23:16.676" v="79" actId="478"/>
          <ac:spMkLst>
            <pc:docMk/>
            <pc:sldMk cId="475229487" sldId="3540"/>
            <ac:spMk id="36" creationId="{484BE925-0438-41C3-8286-9036E3F0BB1D}"/>
          </ac:spMkLst>
        </pc:spChg>
        <pc:picChg chg="mod">
          <ac:chgData name="Martin Filzmair" userId="9f2635aa-98bd-488f-8ebc-52634097194c" providerId="ADAL" clId="{EA40D78A-7237-4472-A9FC-1C2D62867DD0}" dt="2020-04-16T16:53:14.142" v="404" actId="1038"/>
          <ac:picMkLst>
            <pc:docMk/>
            <pc:sldMk cId="475229487" sldId="3540"/>
            <ac:picMk id="2" creationId="{48D62F98-B917-4627-B458-4F583FDF0771}"/>
          </ac:picMkLst>
        </pc:picChg>
        <pc:picChg chg="mod">
          <ac:chgData name="Martin Filzmair" userId="9f2635aa-98bd-488f-8ebc-52634097194c" providerId="ADAL" clId="{EA40D78A-7237-4472-A9FC-1C2D62867DD0}" dt="2020-04-16T17:07:12.570" v="432" actId="14100"/>
          <ac:picMkLst>
            <pc:docMk/>
            <pc:sldMk cId="475229487" sldId="3540"/>
            <ac:picMk id="3" creationId="{1EA50EDF-B53E-49EE-9207-022CED3B7AB9}"/>
          </ac:picMkLst>
        </pc:picChg>
        <pc:picChg chg="mod">
          <ac:chgData name="Martin Filzmair" userId="9f2635aa-98bd-488f-8ebc-52634097194c" providerId="ADAL" clId="{EA40D78A-7237-4472-A9FC-1C2D62867DD0}" dt="2020-04-16T14:30:00.436" v="390" actId="1038"/>
          <ac:picMkLst>
            <pc:docMk/>
            <pc:sldMk cId="475229487" sldId="3540"/>
            <ac:picMk id="8" creationId="{18DC6A96-DE1E-4F71-B304-EF102E4177D1}"/>
          </ac:picMkLst>
        </pc:picChg>
      </pc:sldChg>
      <pc:sldChg chg="delSp modSp del">
        <pc:chgData name="Martin Filzmair" userId="9f2635aa-98bd-488f-8ebc-52634097194c" providerId="ADAL" clId="{EA40D78A-7237-4472-A9FC-1C2D62867DD0}" dt="2020-04-16T14:28:04.246" v="379" actId="2696"/>
        <pc:sldMkLst>
          <pc:docMk/>
          <pc:sldMk cId="438346184" sldId="3541"/>
        </pc:sldMkLst>
        <pc:spChg chg="mod">
          <ac:chgData name="Martin Filzmair" userId="9f2635aa-98bd-488f-8ebc-52634097194c" providerId="ADAL" clId="{EA40D78A-7237-4472-A9FC-1C2D62867DD0}" dt="2020-04-16T14:28:00.734" v="378" actId="20577"/>
          <ac:spMkLst>
            <pc:docMk/>
            <pc:sldMk cId="438346184" sldId="3541"/>
            <ac:spMk id="3" creationId="{09BA04F2-8144-4E5B-9EFB-BEE2001B6F47}"/>
          </ac:spMkLst>
        </pc:spChg>
        <pc:spChg chg="del">
          <ac:chgData name="Martin Filzmair" userId="9f2635aa-98bd-488f-8ebc-52634097194c" providerId="ADAL" clId="{EA40D78A-7237-4472-A9FC-1C2D62867DD0}" dt="2020-04-16T14:27:37.967" v="364" actId="478"/>
          <ac:spMkLst>
            <pc:docMk/>
            <pc:sldMk cId="438346184" sldId="3541"/>
            <ac:spMk id="5" creationId="{92E8BB27-32CD-4869-A72F-F1D3F8C8FBB2}"/>
          </ac:spMkLst>
        </pc:spChg>
      </pc:sldChg>
    </pc:docChg>
  </pc:docChgLst>
  <pc:docChgLst>
    <pc:chgData name="Werner Woletz" userId="S::werner.woletz@hl-display.com::721b2a02-838e-412e-babb-93d9f1b9b588" providerId="AD" clId="Web-{CE10E405-7770-5998-E414-12AB9E56D2D6}"/>
    <pc:docChg chg="modSld">
      <pc:chgData name="Werner Woletz" userId="S::werner.woletz@hl-display.com::721b2a02-838e-412e-babb-93d9f1b9b588" providerId="AD" clId="Web-{CE10E405-7770-5998-E414-12AB9E56D2D6}" dt="2020-04-16T09:12:48.770" v="1" actId="1076"/>
      <pc:docMkLst>
        <pc:docMk/>
      </pc:docMkLst>
      <pc:sldChg chg="modSp">
        <pc:chgData name="Werner Woletz" userId="S::werner.woletz@hl-display.com::721b2a02-838e-412e-babb-93d9f1b9b588" providerId="AD" clId="Web-{CE10E405-7770-5998-E414-12AB9E56D2D6}" dt="2020-04-16T09:12:48.770" v="1" actId="1076"/>
        <pc:sldMkLst>
          <pc:docMk/>
          <pc:sldMk cId="3702704163" sldId="3531"/>
        </pc:sldMkLst>
        <pc:spChg chg="mod">
          <ac:chgData name="Werner Woletz" userId="S::werner.woletz@hl-display.com::721b2a02-838e-412e-babb-93d9f1b9b588" providerId="AD" clId="Web-{CE10E405-7770-5998-E414-12AB9E56D2D6}" dt="2020-04-16T09:12:48.770" v="1" actId="1076"/>
          <ac:spMkLst>
            <pc:docMk/>
            <pc:sldMk cId="3702704163" sldId="3531"/>
            <ac:spMk id="10" creationId="{1867A573-9BC2-463E-A5AA-1DB7FA58A937}"/>
          </ac:spMkLst>
        </pc:spChg>
      </pc:sldChg>
      <pc:sldChg chg="modSp">
        <pc:chgData name="Werner Woletz" userId="S::werner.woletz@hl-display.com::721b2a02-838e-412e-babb-93d9f1b9b588" providerId="AD" clId="Web-{CE10E405-7770-5998-E414-12AB9E56D2D6}" dt="2020-04-16T08:58:13.865" v="0" actId="1076"/>
        <pc:sldMkLst>
          <pc:docMk/>
          <pc:sldMk cId="475229487" sldId="3540"/>
        </pc:sldMkLst>
        <pc:picChg chg="mod">
          <ac:chgData name="Werner Woletz" userId="S::werner.woletz@hl-display.com::721b2a02-838e-412e-babb-93d9f1b9b588" providerId="AD" clId="Web-{CE10E405-7770-5998-E414-12AB9E56D2D6}" dt="2020-04-16T08:58:13.865" v="0" actId="1076"/>
          <ac:picMkLst>
            <pc:docMk/>
            <pc:sldMk cId="475229487" sldId="3540"/>
            <ac:picMk id="17" creationId="{1A0989C4-B5D3-4EA2-BAD5-FBFF95F26992}"/>
          </ac:picMkLst>
        </pc:picChg>
      </pc:sldChg>
    </pc:docChg>
  </pc:docChgLst>
  <pc:docChgLst>
    <pc:chgData name="Peter Moser" userId="09f5e378-59ce-4930-91fc-12de90cfb277" providerId="ADAL" clId="{99837F8A-15D9-4A27-A6CC-DD1007C9FACF}"/>
    <pc:docChg chg="modSld">
      <pc:chgData name="Peter Moser" userId="09f5e378-59ce-4930-91fc-12de90cfb277" providerId="ADAL" clId="{99837F8A-15D9-4A27-A6CC-DD1007C9FACF}" dt="2020-04-06T13:26:37.850" v="0"/>
      <pc:docMkLst>
        <pc:docMk/>
      </pc:docMkLst>
      <pc:sldChg chg="modSp">
        <pc:chgData name="Peter Moser" userId="09f5e378-59ce-4930-91fc-12de90cfb277" providerId="ADAL" clId="{99837F8A-15D9-4A27-A6CC-DD1007C9FACF}" dt="2020-04-06T13:26:37.850" v="0"/>
        <pc:sldMkLst>
          <pc:docMk/>
          <pc:sldMk cId="1723630821" sldId="3502"/>
        </pc:sldMkLst>
        <pc:spChg chg="mod">
          <ac:chgData name="Peter Moser" userId="09f5e378-59ce-4930-91fc-12de90cfb277" providerId="ADAL" clId="{99837F8A-15D9-4A27-A6CC-DD1007C9FACF}" dt="2020-04-06T13:26:37.850" v="0"/>
          <ac:spMkLst>
            <pc:docMk/>
            <pc:sldMk cId="1723630821" sldId="3502"/>
            <ac:spMk id="6" creationId="{00000000-0000-0000-0000-000000000000}"/>
          </ac:spMkLst>
        </pc:spChg>
      </pc:sldChg>
      <pc:sldChg chg="modSp">
        <pc:chgData name="Peter Moser" userId="09f5e378-59ce-4930-91fc-12de90cfb277" providerId="ADAL" clId="{99837F8A-15D9-4A27-A6CC-DD1007C9FACF}" dt="2020-04-06T13:26:37.850" v="0"/>
        <pc:sldMkLst>
          <pc:docMk/>
          <pc:sldMk cId="3430294505" sldId="3516"/>
        </pc:sldMkLst>
        <pc:spChg chg="mod">
          <ac:chgData name="Peter Moser" userId="09f5e378-59ce-4930-91fc-12de90cfb277" providerId="ADAL" clId="{99837F8A-15D9-4A27-A6CC-DD1007C9FACF}" dt="2020-04-06T13:26:37.850" v="0"/>
          <ac:spMkLst>
            <pc:docMk/>
            <pc:sldMk cId="3430294505" sldId="3516"/>
            <ac:spMk id="11" creationId="{0FB7D7A6-F5EF-451A-BFFD-A091CC21B3B1}"/>
          </ac:spMkLst>
        </pc:spChg>
      </pc:sldChg>
      <pc:sldChg chg="modSp">
        <pc:chgData name="Peter Moser" userId="09f5e378-59ce-4930-91fc-12de90cfb277" providerId="ADAL" clId="{99837F8A-15D9-4A27-A6CC-DD1007C9FACF}" dt="2020-04-06T13:26:37.850" v="0"/>
        <pc:sldMkLst>
          <pc:docMk/>
          <pc:sldMk cId="1592101674" sldId="3521"/>
        </pc:sldMkLst>
        <pc:spChg chg="mod">
          <ac:chgData name="Peter Moser" userId="09f5e378-59ce-4930-91fc-12de90cfb277" providerId="ADAL" clId="{99837F8A-15D9-4A27-A6CC-DD1007C9FACF}" dt="2020-04-06T13:26:37.850" v="0"/>
          <ac:spMkLst>
            <pc:docMk/>
            <pc:sldMk cId="1592101674" sldId="3521"/>
            <ac:spMk id="11" creationId="{D3D4CA44-C00B-4D9B-8CFD-ED6160CE86EF}"/>
          </ac:spMkLst>
        </pc:spChg>
      </pc:sldChg>
    </pc:docChg>
  </pc:docChgLst>
  <pc:docChgLst>
    <pc:chgData name="Martin Filzmair" userId="9f2635aa-98bd-488f-8ebc-52634097194c" providerId="ADAL" clId="{A3A0634B-3C42-44F5-B9B2-55202780B8AC}"/>
    <pc:docChg chg="custSel addSld delSld modSld">
      <pc:chgData name="Martin Filzmair" userId="9f2635aa-98bd-488f-8ebc-52634097194c" providerId="ADAL" clId="{A3A0634B-3C42-44F5-B9B2-55202780B8AC}" dt="2020-04-07T07:01:11.175" v="173" actId="2696"/>
      <pc:docMkLst>
        <pc:docMk/>
      </pc:docMkLst>
      <pc:sldChg chg="addSp modSp">
        <pc:chgData name="Martin Filzmair" userId="9f2635aa-98bd-488f-8ebc-52634097194c" providerId="ADAL" clId="{A3A0634B-3C42-44F5-B9B2-55202780B8AC}" dt="2020-04-06T13:13:19.609" v="41" actId="255"/>
        <pc:sldMkLst>
          <pc:docMk/>
          <pc:sldMk cId="4240374056" sldId="3513"/>
        </pc:sldMkLst>
        <pc:spChg chg="add mod">
          <ac:chgData name="Martin Filzmair" userId="9f2635aa-98bd-488f-8ebc-52634097194c" providerId="ADAL" clId="{A3A0634B-3C42-44F5-B9B2-55202780B8AC}" dt="2020-04-06T13:13:19.609" v="41" actId="255"/>
          <ac:spMkLst>
            <pc:docMk/>
            <pc:sldMk cId="4240374056" sldId="3513"/>
            <ac:spMk id="5" creationId="{5F5AA46F-94A4-4C8D-85D0-E8F22BDE0189}"/>
          </ac:spMkLst>
        </pc:spChg>
      </pc:sldChg>
      <pc:sldChg chg="addSp modSp">
        <pc:chgData name="Martin Filzmair" userId="9f2635aa-98bd-488f-8ebc-52634097194c" providerId="ADAL" clId="{A3A0634B-3C42-44F5-B9B2-55202780B8AC}" dt="2020-04-06T13:17:29.510" v="42" actId="14100"/>
        <pc:sldMkLst>
          <pc:docMk/>
          <pc:sldMk cId="1359919869" sldId="3518"/>
        </pc:sldMkLst>
        <pc:spChg chg="add mod">
          <ac:chgData name="Martin Filzmair" userId="9f2635aa-98bd-488f-8ebc-52634097194c" providerId="ADAL" clId="{A3A0634B-3C42-44F5-B9B2-55202780B8AC}" dt="2020-04-06T13:13:00.510" v="37" actId="255"/>
          <ac:spMkLst>
            <pc:docMk/>
            <pc:sldMk cId="1359919869" sldId="3518"/>
            <ac:spMk id="2" creationId="{0F93B1E2-B878-4C65-8DB0-A7C8EC5237EB}"/>
          </ac:spMkLst>
        </pc:spChg>
        <pc:spChg chg="mod">
          <ac:chgData name="Martin Filzmair" userId="9f2635aa-98bd-488f-8ebc-52634097194c" providerId="ADAL" clId="{A3A0634B-3C42-44F5-B9B2-55202780B8AC}" dt="2020-04-06T13:17:29.510" v="42" actId="14100"/>
          <ac:spMkLst>
            <pc:docMk/>
            <pc:sldMk cId="1359919869" sldId="3518"/>
            <ac:spMk id="11" creationId="{0FB7D7A6-F5EF-451A-BFFD-A091CC21B3B1}"/>
          </ac:spMkLst>
        </pc:spChg>
      </pc:sldChg>
      <pc:sldChg chg="addSp delSp modSp add del">
        <pc:chgData name="Martin Filzmair" userId="9f2635aa-98bd-488f-8ebc-52634097194c" providerId="ADAL" clId="{A3A0634B-3C42-44F5-B9B2-55202780B8AC}" dt="2020-04-07T07:01:11.175" v="173" actId="2696"/>
        <pc:sldMkLst>
          <pc:docMk/>
          <pc:sldMk cId="214270619" sldId="3535"/>
        </pc:sldMkLst>
        <pc:spChg chg="del">
          <ac:chgData name="Martin Filzmair" userId="9f2635aa-98bd-488f-8ebc-52634097194c" providerId="ADAL" clId="{A3A0634B-3C42-44F5-B9B2-55202780B8AC}" dt="2020-04-06T16:01:21.638" v="44"/>
          <ac:spMkLst>
            <pc:docMk/>
            <pc:sldMk cId="214270619" sldId="3535"/>
            <ac:spMk id="2" creationId="{4EF874A4-7C88-4894-BF9C-1ABA500FFD48}"/>
          </ac:spMkLst>
        </pc:spChg>
        <pc:spChg chg="del">
          <ac:chgData name="Martin Filzmair" userId="9f2635aa-98bd-488f-8ebc-52634097194c" providerId="ADAL" clId="{A3A0634B-3C42-44F5-B9B2-55202780B8AC}" dt="2020-04-06T16:01:21.638" v="44"/>
          <ac:spMkLst>
            <pc:docMk/>
            <pc:sldMk cId="214270619" sldId="3535"/>
            <ac:spMk id="3" creationId="{E9C871CC-0AFC-49C9-B6C5-3C59835B0B5E}"/>
          </ac:spMkLst>
        </pc:spChg>
        <pc:spChg chg="del">
          <ac:chgData name="Martin Filzmair" userId="9f2635aa-98bd-488f-8ebc-52634097194c" providerId="ADAL" clId="{A3A0634B-3C42-44F5-B9B2-55202780B8AC}" dt="2020-04-06T16:01:21.638" v="44"/>
          <ac:spMkLst>
            <pc:docMk/>
            <pc:sldMk cId="214270619" sldId="3535"/>
            <ac:spMk id="4" creationId="{A405CE12-406F-44BD-9931-F2D766FEB9F0}"/>
          </ac:spMkLst>
        </pc:spChg>
        <pc:spChg chg="del">
          <ac:chgData name="Martin Filzmair" userId="9f2635aa-98bd-488f-8ebc-52634097194c" providerId="ADAL" clId="{A3A0634B-3C42-44F5-B9B2-55202780B8AC}" dt="2020-04-06T16:01:21.638" v="44"/>
          <ac:spMkLst>
            <pc:docMk/>
            <pc:sldMk cId="214270619" sldId="3535"/>
            <ac:spMk id="5" creationId="{B623DA91-72DB-4F24-9BF7-D9248A1A8232}"/>
          </ac:spMkLst>
        </pc:spChg>
        <pc:spChg chg="del">
          <ac:chgData name="Martin Filzmair" userId="9f2635aa-98bd-488f-8ebc-52634097194c" providerId="ADAL" clId="{A3A0634B-3C42-44F5-B9B2-55202780B8AC}" dt="2020-04-06T16:01:21.638" v="44"/>
          <ac:spMkLst>
            <pc:docMk/>
            <pc:sldMk cId="214270619" sldId="3535"/>
            <ac:spMk id="6" creationId="{EBBCF58E-DCC1-4DA0-B037-6830BE5F892F}"/>
          </ac:spMkLst>
        </pc:spChg>
        <pc:spChg chg="del">
          <ac:chgData name="Martin Filzmair" userId="9f2635aa-98bd-488f-8ebc-52634097194c" providerId="ADAL" clId="{A3A0634B-3C42-44F5-B9B2-55202780B8AC}" dt="2020-04-06T16:01:21.638" v="44"/>
          <ac:spMkLst>
            <pc:docMk/>
            <pc:sldMk cId="214270619" sldId="3535"/>
            <ac:spMk id="7" creationId="{9E6A2199-EAF8-4F4D-B04A-08BCB6CBFBE2}"/>
          </ac:spMkLst>
        </pc:spChg>
        <pc:spChg chg="del">
          <ac:chgData name="Martin Filzmair" userId="9f2635aa-98bd-488f-8ebc-52634097194c" providerId="ADAL" clId="{A3A0634B-3C42-44F5-B9B2-55202780B8AC}" dt="2020-04-06T16:01:21.638" v="44"/>
          <ac:spMkLst>
            <pc:docMk/>
            <pc:sldMk cId="214270619" sldId="3535"/>
            <ac:spMk id="8" creationId="{7BB63449-86F8-4105-A306-CE78B23D8F01}"/>
          </ac:spMkLst>
        </pc:spChg>
        <pc:spChg chg="add mod">
          <ac:chgData name="Martin Filzmair" userId="9f2635aa-98bd-488f-8ebc-52634097194c" providerId="ADAL" clId="{A3A0634B-3C42-44F5-B9B2-55202780B8AC}" dt="2020-04-06T16:01:49.150" v="60" actId="20577"/>
          <ac:spMkLst>
            <pc:docMk/>
            <pc:sldMk cId="214270619" sldId="3535"/>
            <ac:spMk id="10" creationId="{D5E272FE-2FC4-47BE-9FC3-210A2A886424}"/>
          </ac:spMkLst>
        </pc:spChg>
        <pc:spChg chg="add mod">
          <ac:chgData name="Martin Filzmair" userId="9f2635aa-98bd-488f-8ebc-52634097194c" providerId="ADAL" clId="{A3A0634B-3C42-44F5-B9B2-55202780B8AC}" dt="2020-04-06T16:02:03.827" v="61" actId="255"/>
          <ac:spMkLst>
            <pc:docMk/>
            <pc:sldMk cId="214270619" sldId="3535"/>
            <ac:spMk id="11" creationId="{895EA783-3299-463E-98E3-9779CA378EC8}"/>
          </ac:spMkLst>
        </pc:spChg>
      </pc:sldChg>
      <pc:sldChg chg="addSp delSp modSp add">
        <pc:chgData name="Martin Filzmair" userId="9f2635aa-98bd-488f-8ebc-52634097194c" providerId="ADAL" clId="{A3A0634B-3C42-44F5-B9B2-55202780B8AC}" dt="2020-04-07T07:00:38.926" v="172" actId="20577"/>
        <pc:sldMkLst>
          <pc:docMk/>
          <pc:sldMk cId="1527059802" sldId="3536"/>
        </pc:sldMkLst>
        <pc:spChg chg="del">
          <ac:chgData name="Martin Filzmair" userId="9f2635aa-98bd-488f-8ebc-52634097194c" providerId="ADAL" clId="{A3A0634B-3C42-44F5-B9B2-55202780B8AC}" dt="2020-04-07T06:59:47.963" v="63"/>
          <ac:spMkLst>
            <pc:docMk/>
            <pc:sldMk cId="1527059802" sldId="3536"/>
            <ac:spMk id="2" creationId="{4FE4DBB8-B7AE-44E9-923D-1DAF287092EE}"/>
          </ac:spMkLst>
        </pc:spChg>
        <pc:spChg chg="del">
          <ac:chgData name="Martin Filzmair" userId="9f2635aa-98bd-488f-8ebc-52634097194c" providerId="ADAL" clId="{A3A0634B-3C42-44F5-B9B2-55202780B8AC}" dt="2020-04-07T06:59:47.963" v="63"/>
          <ac:spMkLst>
            <pc:docMk/>
            <pc:sldMk cId="1527059802" sldId="3536"/>
            <ac:spMk id="3" creationId="{82F88A41-806A-407B-BFC5-41DDBE64313C}"/>
          </ac:spMkLst>
        </pc:spChg>
        <pc:spChg chg="del">
          <ac:chgData name="Martin Filzmair" userId="9f2635aa-98bd-488f-8ebc-52634097194c" providerId="ADAL" clId="{A3A0634B-3C42-44F5-B9B2-55202780B8AC}" dt="2020-04-07T06:59:47.963" v="63"/>
          <ac:spMkLst>
            <pc:docMk/>
            <pc:sldMk cId="1527059802" sldId="3536"/>
            <ac:spMk id="4" creationId="{3F27C34A-B6B1-47AF-A96D-16055AD421C3}"/>
          </ac:spMkLst>
        </pc:spChg>
        <pc:spChg chg="del">
          <ac:chgData name="Martin Filzmair" userId="9f2635aa-98bd-488f-8ebc-52634097194c" providerId="ADAL" clId="{A3A0634B-3C42-44F5-B9B2-55202780B8AC}" dt="2020-04-07T06:59:47.963" v="63"/>
          <ac:spMkLst>
            <pc:docMk/>
            <pc:sldMk cId="1527059802" sldId="3536"/>
            <ac:spMk id="5" creationId="{E2225E8A-47E0-4DEF-B033-D2C83D69C3ED}"/>
          </ac:spMkLst>
        </pc:spChg>
        <pc:spChg chg="del">
          <ac:chgData name="Martin Filzmair" userId="9f2635aa-98bd-488f-8ebc-52634097194c" providerId="ADAL" clId="{A3A0634B-3C42-44F5-B9B2-55202780B8AC}" dt="2020-04-07T06:59:47.963" v="63"/>
          <ac:spMkLst>
            <pc:docMk/>
            <pc:sldMk cId="1527059802" sldId="3536"/>
            <ac:spMk id="6" creationId="{AD059EBA-437B-4D6A-843A-7D2D93274D62}"/>
          </ac:spMkLst>
        </pc:spChg>
        <pc:spChg chg="del">
          <ac:chgData name="Martin Filzmair" userId="9f2635aa-98bd-488f-8ebc-52634097194c" providerId="ADAL" clId="{A3A0634B-3C42-44F5-B9B2-55202780B8AC}" dt="2020-04-07T06:59:47.963" v="63"/>
          <ac:spMkLst>
            <pc:docMk/>
            <pc:sldMk cId="1527059802" sldId="3536"/>
            <ac:spMk id="7" creationId="{846EEDE8-5235-45B6-8839-AF0C301586A8}"/>
          </ac:spMkLst>
        </pc:spChg>
        <pc:spChg chg="del">
          <ac:chgData name="Martin Filzmair" userId="9f2635aa-98bd-488f-8ebc-52634097194c" providerId="ADAL" clId="{A3A0634B-3C42-44F5-B9B2-55202780B8AC}" dt="2020-04-07T06:59:47.963" v="63"/>
          <ac:spMkLst>
            <pc:docMk/>
            <pc:sldMk cId="1527059802" sldId="3536"/>
            <ac:spMk id="8" creationId="{AA07EE38-8F3D-43F8-B3AA-DD6BA70DADD5}"/>
          </ac:spMkLst>
        </pc:spChg>
        <pc:spChg chg="del">
          <ac:chgData name="Martin Filzmair" userId="9f2635aa-98bd-488f-8ebc-52634097194c" providerId="ADAL" clId="{A3A0634B-3C42-44F5-B9B2-55202780B8AC}" dt="2020-04-07T07:00:34.513" v="170" actId="478"/>
          <ac:spMkLst>
            <pc:docMk/>
            <pc:sldMk cId="1527059802" sldId="3536"/>
            <ac:spMk id="9" creationId="{7C8E367C-5673-4725-8B74-FC8381EBFC99}"/>
          </ac:spMkLst>
        </pc:spChg>
        <pc:spChg chg="add mod">
          <ac:chgData name="Martin Filzmair" userId="9f2635aa-98bd-488f-8ebc-52634097194c" providerId="ADAL" clId="{A3A0634B-3C42-44F5-B9B2-55202780B8AC}" dt="2020-04-07T07:00:29.438" v="169" actId="20577"/>
          <ac:spMkLst>
            <pc:docMk/>
            <pc:sldMk cId="1527059802" sldId="3536"/>
            <ac:spMk id="10" creationId="{E1B278E5-6C46-4C5C-9A2A-5EF23CBBFA25}"/>
          </ac:spMkLst>
        </pc:spChg>
        <pc:spChg chg="add mod">
          <ac:chgData name="Martin Filzmair" userId="9f2635aa-98bd-488f-8ebc-52634097194c" providerId="ADAL" clId="{A3A0634B-3C42-44F5-B9B2-55202780B8AC}" dt="2020-04-07T07:00:38.926" v="172" actId="20577"/>
          <ac:spMkLst>
            <pc:docMk/>
            <pc:sldMk cId="1527059802" sldId="3536"/>
            <ac:spMk id="11" creationId="{22AF6358-C4AE-4486-B5FA-3B98C833C3FA}"/>
          </ac:spMkLst>
        </pc:spChg>
      </pc:sldChg>
    </pc:docChg>
  </pc:docChgLst>
  <pc:docChgLst>
    <pc:chgData name="Martin Filzmair" userId="9f2635aa-98bd-488f-8ebc-52634097194c" providerId="ADAL" clId="{A591FB47-B660-4782-B8F7-B4F4886E45BC}"/>
    <pc:docChg chg="undo custSel addSld delSld modSld sldOrd">
      <pc:chgData name="Martin Filzmair" userId="9f2635aa-98bd-488f-8ebc-52634097194c" providerId="ADAL" clId="{A591FB47-B660-4782-B8F7-B4F4886E45BC}" dt="2020-04-16T14:14:02.154" v="2084" actId="20577"/>
      <pc:docMkLst>
        <pc:docMk/>
      </pc:docMkLst>
      <pc:sldChg chg="modSp setBg">
        <pc:chgData name="Martin Filzmair" userId="9f2635aa-98bd-488f-8ebc-52634097194c" providerId="ADAL" clId="{A591FB47-B660-4782-B8F7-B4F4886E45BC}" dt="2020-04-16T14:12:27.445" v="2049" actId="255"/>
        <pc:sldMkLst>
          <pc:docMk/>
          <pc:sldMk cId="1723630821" sldId="3502"/>
        </pc:sldMkLst>
        <pc:spChg chg="mod">
          <ac:chgData name="Martin Filzmair" userId="9f2635aa-98bd-488f-8ebc-52634097194c" providerId="ADAL" clId="{A591FB47-B660-4782-B8F7-B4F4886E45BC}" dt="2020-04-16T14:12:27.445" v="2049" actId="255"/>
          <ac:spMkLst>
            <pc:docMk/>
            <pc:sldMk cId="1723630821" sldId="3502"/>
            <ac:spMk id="6" creationId="{00000000-0000-0000-0000-000000000000}"/>
          </ac:spMkLst>
        </pc:spChg>
        <pc:spChg chg="mod">
          <ac:chgData name="Martin Filzmair" userId="9f2635aa-98bd-488f-8ebc-52634097194c" providerId="ADAL" clId="{A591FB47-B660-4782-B8F7-B4F4886E45BC}" dt="2020-04-15T14:16:42.414" v="34" actId="20577"/>
          <ac:spMkLst>
            <pc:docMk/>
            <pc:sldMk cId="1723630821" sldId="3502"/>
            <ac:spMk id="7" creationId="{00000000-0000-0000-0000-000000000000}"/>
          </ac:spMkLst>
        </pc:spChg>
      </pc:sldChg>
      <pc:sldChg chg="del">
        <pc:chgData name="Martin Filzmair" userId="9f2635aa-98bd-488f-8ebc-52634097194c" providerId="ADAL" clId="{A591FB47-B660-4782-B8F7-B4F4886E45BC}" dt="2020-04-15T14:17:12.418" v="56" actId="2696"/>
        <pc:sldMkLst>
          <pc:docMk/>
          <pc:sldMk cId="1188956741" sldId="3511"/>
        </pc:sldMkLst>
      </pc:sldChg>
      <pc:sldChg chg="del">
        <pc:chgData name="Martin Filzmair" userId="9f2635aa-98bd-488f-8ebc-52634097194c" providerId="ADAL" clId="{A591FB47-B660-4782-B8F7-B4F4886E45BC}" dt="2020-04-15T14:17:15.930" v="66" actId="2696"/>
        <pc:sldMkLst>
          <pc:docMk/>
          <pc:sldMk cId="690388073" sldId="3512"/>
        </pc:sldMkLst>
      </pc:sldChg>
      <pc:sldChg chg="addSp delSp modSp">
        <pc:chgData name="Martin Filzmair" userId="9f2635aa-98bd-488f-8ebc-52634097194c" providerId="ADAL" clId="{A591FB47-B660-4782-B8F7-B4F4886E45BC}" dt="2020-04-15T15:39:39.644" v="1086"/>
        <pc:sldMkLst>
          <pc:docMk/>
          <pc:sldMk cId="4240374056" sldId="3513"/>
        </pc:sldMkLst>
        <pc:spChg chg="del">
          <ac:chgData name="Martin Filzmair" userId="9f2635aa-98bd-488f-8ebc-52634097194c" providerId="ADAL" clId="{A591FB47-B660-4782-B8F7-B4F4886E45BC}" dt="2020-04-15T14:17:05.522" v="50" actId="478"/>
          <ac:spMkLst>
            <pc:docMk/>
            <pc:sldMk cId="4240374056" sldId="3513"/>
            <ac:spMk id="3" creationId="{1D6EA8C3-1C5B-4F68-A10C-49785C7318D7}"/>
          </ac:spMkLst>
        </pc:spChg>
        <pc:spChg chg="del">
          <ac:chgData name="Martin Filzmair" userId="9f2635aa-98bd-488f-8ebc-52634097194c" providerId="ADAL" clId="{A591FB47-B660-4782-B8F7-B4F4886E45BC}" dt="2020-04-15T14:16:50.892" v="36" actId="478"/>
          <ac:spMkLst>
            <pc:docMk/>
            <pc:sldMk cId="4240374056" sldId="3513"/>
            <ac:spMk id="5" creationId="{5F5AA46F-94A4-4C8D-85D0-E8F22BDE0189}"/>
          </ac:spMkLst>
        </pc:spChg>
        <pc:spChg chg="mod">
          <ac:chgData name="Martin Filzmair" userId="9f2635aa-98bd-488f-8ebc-52634097194c" providerId="ADAL" clId="{A591FB47-B660-4782-B8F7-B4F4886E45BC}" dt="2020-04-15T14:29:19.769" v="448" actId="1036"/>
          <ac:spMkLst>
            <pc:docMk/>
            <pc:sldMk cId="4240374056" sldId="3513"/>
            <ac:spMk id="6" creationId="{01AEDF92-E83B-4A4E-AA02-1843599D92AA}"/>
          </ac:spMkLst>
        </pc:spChg>
        <pc:spChg chg="add mod">
          <ac:chgData name="Martin Filzmair" userId="9f2635aa-98bd-488f-8ebc-52634097194c" providerId="ADAL" clId="{A591FB47-B660-4782-B8F7-B4F4886E45BC}" dt="2020-04-15T14:30:17.887" v="467" actId="1037"/>
          <ac:spMkLst>
            <pc:docMk/>
            <pc:sldMk cId="4240374056" sldId="3513"/>
            <ac:spMk id="29" creationId="{222CDA01-E020-4BC0-872F-E400AA7107CE}"/>
          </ac:spMkLst>
        </pc:spChg>
        <pc:spChg chg="add">
          <ac:chgData name="Martin Filzmair" userId="9f2635aa-98bd-488f-8ebc-52634097194c" providerId="ADAL" clId="{A591FB47-B660-4782-B8F7-B4F4886E45BC}" dt="2020-04-15T15:39:39.644" v="1086"/>
          <ac:spMkLst>
            <pc:docMk/>
            <pc:sldMk cId="4240374056" sldId="3513"/>
            <ac:spMk id="30" creationId="{4106314D-28D1-4720-B299-B121176B10FB}"/>
          </ac:spMkLst>
        </pc:spChg>
        <pc:picChg chg="del">
          <ac:chgData name="Martin Filzmair" userId="9f2635aa-98bd-488f-8ebc-52634097194c" providerId="ADAL" clId="{A591FB47-B660-4782-B8F7-B4F4886E45BC}" dt="2020-04-15T14:17:02.774" v="49" actId="478"/>
          <ac:picMkLst>
            <pc:docMk/>
            <pc:sldMk cId="4240374056" sldId="3513"/>
            <ac:picMk id="2" creationId="{A706299C-2DF0-4D5E-9DC4-DAD410D8FD06}"/>
          </ac:picMkLst>
        </pc:picChg>
        <pc:picChg chg="add del mod">
          <ac:chgData name="Martin Filzmair" userId="9f2635aa-98bd-488f-8ebc-52634097194c" providerId="ADAL" clId="{A591FB47-B660-4782-B8F7-B4F4886E45BC}" dt="2020-04-15T14:20:07.134" v="162"/>
          <ac:picMkLst>
            <pc:docMk/>
            <pc:sldMk cId="4240374056" sldId="3513"/>
            <ac:picMk id="7" creationId="{84CBE056-6BDD-4B90-91AF-33157CD7ACB6}"/>
          </ac:picMkLst>
        </pc:picChg>
        <pc:picChg chg="add del mod">
          <ac:chgData name="Martin Filzmair" userId="9f2635aa-98bd-488f-8ebc-52634097194c" providerId="ADAL" clId="{A591FB47-B660-4782-B8F7-B4F4886E45BC}" dt="2020-04-15T14:40:30.688" v="585"/>
          <ac:picMkLst>
            <pc:docMk/>
            <pc:sldMk cId="4240374056" sldId="3513"/>
            <ac:picMk id="9" creationId="{A1ADDF12-61FA-4707-8D0A-354499648DD9}"/>
          </ac:picMkLst>
        </pc:picChg>
        <pc:picChg chg="add del mod">
          <ac:chgData name="Martin Filzmair" userId="9f2635aa-98bd-488f-8ebc-52634097194c" providerId="ADAL" clId="{A591FB47-B660-4782-B8F7-B4F4886E45BC}" dt="2020-04-15T14:35:07.997" v="529"/>
          <ac:picMkLst>
            <pc:docMk/>
            <pc:sldMk cId="4240374056" sldId="3513"/>
            <ac:picMk id="11" creationId="{18F6AB85-37AB-43DB-AE9E-41F290304577}"/>
          </ac:picMkLst>
        </pc:picChg>
        <pc:picChg chg="add del mod">
          <ac:chgData name="Martin Filzmair" userId="9f2635aa-98bd-488f-8ebc-52634097194c" providerId="ADAL" clId="{A591FB47-B660-4782-B8F7-B4F4886E45BC}" dt="2020-04-15T14:30:42.616" v="468"/>
          <ac:picMkLst>
            <pc:docMk/>
            <pc:sldMk cId="4240374056" sldId="3513"/>
            <ac:picMk id="13" creationId="{0A86EFEF-3572-49FD-9693-EBE8D8A18591}"/>
          </ac:picMkLst>
        </pc:picChg>
        <pc:picChg chg="add del mod">
          <ac:chgData name="Martin Filzmair" userId="9f2635aa-98bd-488f-8ebc-52634097194c" providerId="ADAL" clId="{A591FB47-B660-4782-B8F7-B4F4886E45BC}" dt="2020-04-15T14:38:45.829" v="567"/>
          <ac:picMkLst>
            <pc:docMk/>
            <pc:sldMk cId="4240374056" sldId="3513"/>
            <ac:picMk id="15" creationId="{0BCFD858-071D-4434-8B7B-BF4366DD53CA}"/>
          </ac:picMkLst>
        </pc:picChg>
        <pc:picChg chg="add del mod">
          <ac:chgData name="Martin Filzmair" userId="9f2635aa-98bd-488f-8ebc-52634097194c" providerId="ADAL" clId="{A591FB47-B660-4782-B8F7-B4F4886E45BC}" dt="2020-04-15T14:32:50.429" v="511"/>
          <ac:picMkLst>
            <pc:docMk/>
            <pc:sldMk cId="4240374056" sldId="3513"/>
            <ac:picMk id="17" creationId="{8434A8C0-8358-445F-A20A-BB1DAA795080}"/>
          </ac:picMkLst>
        </pc:picChg>
        <pc:picChg chg="add del mod">
          <ac:chgData name="Martin Filzmair" userId="9f2635aa-98bd-488f-8ebc-52634097194c" providerId="ADAL" clId="{A591FB47-B660-4782-B8F7-B4F4886E45BC}" dt="2020-04-15T14:31:58.061" v="490"/>
          <ac:picMkLst>
            <pc:docMk/>
            <pc:sldMk cId="4240374056" sldId="3513"/>
            <ac:picMk id="19" creationId="{7AC8CB86-0AF1-4243-B65D-A1DFBDCB0846}"/>
          </ac:picMkLst>
        </pc:picChg>
        <pc:picChg chg="add del mod">
          <ac:chgData name="Martin Filzmair" userId="9f2635aa-98bd-488f-8ebc-52634097194c" providerId="ADAL" clId="{A591FB47-B660-4782-B8F7-B4F4886E45BC}" dt="2020-04-15T14:34:05.015" v="521"/>
          <ac:picMkLst>
            <pc:docMk/>
            <pc:sldMk cId="4240374056" sldId="3513"/>
            <ac:picMk id="21" creationId="{D8318750-B349-435D-8EDE-353E310C9CEF}"/>
          </ac:picMkLst>
        </pc:picChg>
        <pc:picChg chg="add del mod">
          <ac:chgData name="Martin Filzmair" userId="9f2635aa-98bd-488f-8ebc-52634097194c" providerId="ADAL" clId="{A591FB47-B660-4782-B8F7-B4F4886E45BC}" dt="2020-04-15T14:44:25.653" v="598"/>
          <ac:picMkLst>
            <pc:docMk/>
            <pc:sldMk cId="4240374056" sldId="3513"/>
            <ac:picMk id="23" creationId="{1C3B1F7A-026B-4280-AAF1-F61A772E34C9}"/>
          </ac:picMkLst>
        </pc:picChg>
        <pc:picChg chg="add del mod">
          <ac:chgData name="Martin Filzmair" userId="9f2635aa-98bd-488f-8ebc-52634097194c" providerId="ADAL" clId="{A591FB47-B660-4782-B8F7-B4F4886E45BC}" dt="2020-04-15T14:44:25.653" v="598"/>
          <ac:picMkLst>
            <pc:docMk/>
            <pc:sldMk cId="4240374056" sldId="3513"/>
            <ac:picMk id="25" creationId="{926AB2FD-93BF-4BE2-AE29-D424A50F4F91}"/>
          </ac:picMkLst>
        </pc:picChg>
        <pc:picChg chg="add del mod">
          <ac:chgData name="Martin Filzmair" userId="9f2635aa-98bd-488f-8ebc-52634097194c" providerId="ADAL" clId="{A591FB47-B660-4782-B8F7-B4F4886E45BC}" dt="2020-04-15T14:44:25.653" v="598"/>
          <ac:picMkLst>
            <pc:docMk/>
            <pc:sldMk cId="4240374056" sldId="3513"/>
            <ac:picMk id="27" creationId="{D0A99D86-1E29-4C4C-9125-113B2B6BC419}"/>
          </ac:picMkLst>
        </pc:picChg>
        <pc:picChg chg="add mod">
          <ac:chgData name="Martin Filzmair" userId="9f2635aa-98bd-488f-8ebc-52634097194c" providerId="ADAL" clId="{A591FB47-B660-4782-B8F7-B4F4886E45BC}" dt="2020-04-15T14:30:10.806" v="461" actId="1036"/>
          <ac:picMkLst>
            <pc:docMk/>
            <pc:sldMk cId="4240374056" sldId="3513"/>
            <ac:picMk id="28" creationId="{6392714F-A0FB-417C-9EC2-53245AECC161}"/>
          </ac:picMkLst>
        </pc:picChg>
      </pc:sldChg>
      <pc:sldChg chg="del">
        <pc:chgData name="Martin Filzmair" userId="9f2635aa-98bd-488f-8ebc-52634097194c" providerId="ADAL" clId="{A591FB47-B660-4782-B8F7-B4F4886E45BC}" dt="2020-04-15T14:17:15.627" v="64" actId="2696"/>
        <pc:sldMkLst>
          <pc:docMk/>
          <pc:sldMk cId="3170648787" sldId="3514"/>
        </pc:sldMkLst>
      </pc:sldChg>
      <pc:sldChg chg="del">
        <pc:chgData name="Martin Filzmair" userId="9f2635aa-98bd-488f-8ebc-52634097194c" providerId="ADAL" clId="{A591FB47-B660-4782-B8F7-B4F4886E45BC}" dt="2020-04-15T14:17:09.930" v="51" actId="2696"/>
        <pc:sldMkLst>
          <pc:docMk/>
          <pc:sldMk cId="3430294505" sldId="3516"/>
        </pc:sldMkLst>
      </pc:sldChg>
      <pc:sldChg chg="del">
        <pc:chgData name="Martin Filzmair" userId="9f2635aa-98bd-488f-8ebc-52634097194c" providerId="ADAL" clId="{A591FB47-B660-4782-B8F7-B4F4886E45BC}" dt="2020-04-15T14:17:10.595" v="52" actId="2696"/>
        <pc:sldMkLst>
          <pc:docMk/>
          <pc:sldMk cId="4109880924" sldId="3517"/>
        </pc:sldMkLst>
      </pc:sldChg>
      <pc:sldChg chg="addSp delSp modSp">
        <pc:chgData name="Martin Filzmair" userId="9f2635aa-98bd-488f-8ebc-52634097194c" providerId="ADAL" clId="{A591FB47-B660-4782-B8F7-B4F4886E45BC}" dt="2020-04-16T14:14:02.154" v="2084" actId="20577"/>
        <pc:sldMkLst>
          <pc:docMk/>
          <pc:sldMk cId="1359919869" sldId="3518"/>
        </pc:sldMkLst>
        <pc:spChg chg="del">
          <ac:chgData name="Martin Filzmair" userId="9f2635aa-98bd-488f-8ebc-52634097194c" providerId="ADAL" clId="{A591FB47-B660-4782-B8F7-B4F4886E45BC}" dt="2020-04-15T14:16:48.021" v="35" actId="478"/>
          <ac:spMkLst>
            <pc:docMk/>
            <pc:sldMk cId="1359919869" sldId="3518"/>
            <ac:spMk id="2" creationId="{0F93B1E2-B878-4C65-8DB0-A7C8EC5237EB}"/>
          </ac:spMkLst>
        </pc:spChg>
        <pc:spChg chg="add del mod">
          <ac:chgData name="Martin Filzmair" userId="9f2635aa-98bd-488f-8ebc-52634097194c" providerId="ADAL" clId="{A591FB47-B660-4782-B8F7-B4F4886E45BC}" dt="2020-04-15T14:25:47.157" v="282" actId="931"/>
          <ac:spMkLst>
            <pc:docMk/>
            <pc:sldMk cId="1359919869" sldId="3518"/>
            <ac:spMk id="3" creationId="{2711A1C3-A16D-47B6-B419-995063E9F8FB}"/>
          </ac:spMkLst>
        </pc:spChg>
        <pc:spChg chg="mod">
          <ac:chgData name="Martin Filzmair" userId="9f2635aa-98bd-488f-8ebc-52634097194c" providerId="ADAL" clId="{A591FB47-B660-4782-B8F7-B4F4886E45BC}" dt="2020-04-15T14:57:27.558" v="687" actId="20577"/>
          <ac:spMkLst>
            <pc:docMk/>
            <pc:sldMk cId="1359919869" sldId="3518"/>
            <ac:spMk id="10" creationId="{2A2389B1-F89D-4E63-9F0D-E1C9576302CE}"/>
          </ac:spMkLst>
        </pc:spChg>
        <pc:spChg chg="mod">
          <ac:chgData name="Martin Filzmair" userId="9f2635aa-98bd-488f-8ebc-52634097194c" providerId="ADAL" clId="{A591FB47-B660-4782-B8F7-B4F4886E45BC}" dt="2020-04-16T14:14:02.154" v="2084" actId="20577"/>
          <ac:spMkLst>
            <pc:docMk/>
            <pc:sldMk cId="1359919869" sldId="3518"/>
            <ac:spMk id="11" creationId="{0FB7D7A6-F5EF-451A-BFFD-A091CC21B3B1}"/>
          </ac:spMkLst>
        </pc:spChg>
        <pc:spChg chg="add del mod">
          <ac:chgData name="Martin Filzmair" userId="9f2635aa-98bd-488f-8ebc-52634097194c" providerId="ADAL" clId="{A591FB47-B660-4782-B8F7-B4F4886E45BC}" dt="2020-04-15T14:29:59.073" v="457"/>
          <ac:spMkLst>
            <pc:docMk/>
            <pc:sldMk cId="1359919869" sldId="3518"/>
            <ac:spMk id="16" creationId="{6266D164-634E-4DF8-864E-892F668D3217}"/>
          </ac:spMkLst>
        </pc:spChg>
        <pc:spChg chg="add mod">
          <ac:chgData name="Martin Filzmair" userId="9f2635aa-98bd-488f-8ebc-52634097194c" providerId="ADAL" clId="{A591FB47-B660-4782-B8F7-B4F4886E45BC}" dt="2020-04-15T15:39:22.427" v="1084" actId="255"/>
          <ac:spMkLst>
            <pc:docMk/>
            <pc:sldMk cId="1359919869" sldId="3518"/>
            <ac:spMk id="17" creationId="{75998C37-D6B7-4E84-B195-FB4FA8E50A8E}"/>
          </ac:spMkLst>
        </pc:spChg>
        <pc:grpChg chg="del">
          <ac:chgData name="Martin Filzmair" userId="9f2635aa-98bd-488f-8ebc-52634097194c" providerId="ADAL" clId="{A591FB47-B660-4782-B8F7-B4F4886E45BC}" dt="2020-04-15T14:17:22.412" v="68" actId="478"/>
          <ac:grpSpMkLst>
            <pc:docMk/>
            <pc:sldMk cId="1359919869" sldId="3518"/>
            <ac:grpSpMk id="5" creationId="{A5AEB18F-2103-4C1C-94E6-F43C9D835FC6}"/>
          </ac:grpSpMkLst>
        </pc:grpChg>
        <pc:grpChg chg="del">
          <ac:chgData name="Martin Filzmair" userId="9f2635aa-98bd-488f-8ebc-52634097194c" providerId="ADAL" clId="{A591FB47-B660-4782-B8F7-B4F4886E45BC}" dt="2020-04-15T14:17:24.174" v="69" actId="478"/>
          <ac:grpSpMkLst>
            <pc:docMk/>
            <pc:sldMk cId="1359919869" sldId="3518"/>
            <ac:grpSpMk id="6" creationId="{7FBF58AA-8C72-4862-9A37-801565685C1B}"/>
          </ac:grpSpMkLst>
        </pc:grpChg>
        <pc:picChg chg="del">
          <ac:chgData name="Martin Filzmair" userId="9f2635aa-98bd-488f-8ebc-52634097194c" providerId="ADAL" clId="{A591FB47-B660-4782-B8F7-B4F4886E45BC}" dt="2020-04-15T14:17:25.759" v="70" actId="478"/>
          <ac:picMkLst>
            <pc:docMk/>
            <pc:sldMk cId="1359919869" sldId="3518"/>
            <ac:picMk id="4" creationId="{DC28F989-C679-4B71-94BC-636D2A5846DF}"/>
          </ac:picMkLst>
        </pc:picChg>
        <pc:picChg chg="add del mod modCrop">
          <ac:chgData name="Martin Filzmair" userId="9f2635aa-98bd-488f-8ebc-52634097194c" providerId="ADAL" clId="{A591FB47-B660-4782-B8F7-B4F4886E45BC}" dt="2020-04-15T14:21:15.027" v="199"/>
          <ac:picMkLst>
            <pc:docMk/>
            <pc:sldMk cId="1359919869" sldId="3518"/>
            <ac:picMk id="13" creationId="{80D53311-75F0-4267-8809-0B0FB7617301}"/>
          </ac:picMkLst>
        </pc:picChg>
        <pc:picChg chg="add mod">
          <ac:chgData name="Martin Filzmair" userId="9f2635aa-98bd-488f-8ebc-52634097194c" providerId="ADAL" clId="{A591FB47-B660-4782-B8F7-B4F4886E45BC}" dt="2020-04-15T14:25:53.874" v="283" actId="27614"/>
          <ac:picMkLst>
            <pc:docMk/>
            <pc:sldMk cId="1359919869" sldId="3518"/>
            <ac:picMk id="15" creationId="{1E375836-4443-4153-A34B-65220A4170CE}"/>
          </ac:picMkLst>
        </pc:picChg>
      </pc:sldChg>
      <pc:sldChg chg="del">
        <pc:chgData name="Martin Filzmair" userId="9f2635aa-98bd-488f-8ebc-52634097194c" providerId="ADAL" clId="{A591FB47-B660-4782-B8F7-B4F4886E45BC}" dt="2020-04-15T14:17:11.591" v="53" actId="2696"/>
        <pc:sldMkLst>
          <pc:docMk/>
          <pc:sldMk cId="3340306234" sldId="3519"/>
        </pc:sldMkLst>
      </pc:sldChg>
      <pc:sldChg chg="del">
        <pc:chgData name="Martin Filzmair" userId="9f2635aa-98bd-488f-8ebc-52634097194c" providerId="ADAL" clId="{A591FB47-B660-4782-B8F7-B4F4886E45BC}" dt="2020-04-15T14:17:12.047" v="54" actId="2696"/>
        <pc:sldMkLst>
          <pc:docMk/>
          <pc:sldMk cId="4025676235" sldId="3520"/>
        </pc:sldMkLst>
      </pc:sldChg>
      <pc:sldChg chg="del">
        <pc:chgData name="Martin Filzmair" userId="9f2635aa-98bd-488f-8ebc-52634097194c" providerId="ADAL" clId="{A591FB47-B660-4782-B8F7-B4F4886E45BC}" dt="2020-04-15T14:17:12.228" v="55" actId="2696"/>
        <pc:sldMkLst>
          <pc:docMk/>
          <pc:sldMk cId="1592101674" sldId="3521"/>
        </pc:sldMkLst>
      </pc:sldChg>
      <pc:sldChg chg="addSp delSp modSp add">
        <pc:chgData name="Martin Filzmair" userId="9f2635aa-98bd-488f-8ebc-52634097194c" providerId="ADAL" clId="{A591FB47-B660-4782-B8F7-B4F4886E45BC}" dt="2020-04-16T13:52:28.553" v="1988" actId="1037"/>
        <pc:sldMkLst>
          <pc:docMk/>
          <pc:sldMk cId="19877614" sldId="3523"/>
        </pc:sldMkLst>
        <pc:spChg chg="del">
          <ac:chgData name="Martin Filzmair" userId="9f2635aa-98bd-488f-8ebc-52634097194c" providerId="ADAL" clId="{A591FB47-B660-4782-B8F7-B4F4886E45BC}" dt="2020-04-15T14:22:39.159" v="245"/>
          <ac:spMkLst>
            <pc:docMk/>
            <pc:sldMk cId="19877614" sldId="3523"/>
            <ac:spMk id="2" creationId="{7A54A2A9-73C2-4C3E-8229-42E0D0FBDBCE}"/>
          </ac:spMkLst>
        </pc:spChg>
        <pc:spChg chg="add mod">
          <ac:chgData name="Martin Filzmair" userId="9f2635aa-98bd-488f-8ebc-52634097194c" providerId="ADAL" clId="{A591FB47-B660-4782-B8F7-B4F4886E45BC}" dt="2020-04-16T13:52:28.553" v="1988" actId="1037"/>
          <ac:spMkLst>
            <pc:docMk/>
            <pc:sldMk cId="19877614" sldId="3523"/>
            <ac:spMk id="2" creationId="{D64B9855-E9D4-45C2-876C-39D365185BB2}"/>
          </ac:spMkLst>
        </pc:spChg>
        <pc:spChg chg="del">
          <ac:chgData name="Martin Filzmair" userId="9f2635aa-98bd-488f-8ebc-52634097194c" providerId="ADAL" clId="{A591FB47-B660-4782-B8F7-B4F4886E45BC}" dt="2020-04-15T14:22:39.159" v="245"/>
          <ac:spMkLst>
            <pc:docMk/>
            <pc:sldMk cId="19877614" sldId="3523"/>
            <ac:spMk id="3" creationId="{6537056A-7657-414D-9CBC-2EBE264C2EE8}"/>
          </ac:spMkLst>
        </pc:spChg>
        <pc:spChg chg="del">
          <ac:chgData name="Martin Filzmair" userId="9f2635aa-98bd-488f-8ebc-52634097194c" providerId="ADAL" clId="{A591FB47-B660-4782-B8F7-B4F4886E45BC}" dt="2020-04-15T14:22:39.159" v="245"/>
          <ac:spMkLst>
            <pc:docMk/>
            <pc:sldMk cId="19877614" sldId="3523"/>
            <ac:spMk id="4" creationId="{1DBAC8E1-70C5-4D46-B787-4991D1E74460}"/>
          </ac:spMkLst>
        </pc:spChg>
        <pc:spChg chg="del">
          <ac:chgData name="Martin Filzmair" userId="9f2635aa-98bd-488f-8ebc-52634097194c" providerId="ADAL" clId="{A591FB47-B660-4782-B8F7-B4F4886E45BC}" dt="2020-04-15T14:22:39.159" v="245"/>
          <ac:spMkLst>
            <pc:docMk/>
            <pc:sldMk cId="19877614" sldId="3523"/>
            <ac:spMk id="5" creationId="{2DD630C4-3004-4A91-B137-2514806F5B98}"/>
          </ac:spMkLst>
        </pc:spChg>
        <pc:spChg chg="del">
          <ac:chgData name="Martin Filzmair" userId="9f2635aa-98bd-488f-8ebc-52634097194c" providerId="ADAL" clId="{A591FB47-B660-4782-B8F7-B4F4886E45BC}" dt="2020-04-15T14:22:39.159" v="245"/>
          <ac:spMkLst>
            <pc:docMk/>
            <pc:sldMk cId="19877614" sldId="3523"/>
            <ac:spMk id="6" creationId="{D6DEC8DB-FB55-4B21-B040-D1EA10F5C0C8}"/>
          </ac:spMkLst>
        </pc:spChg>
        <pc:spChg chg="del">
          <ac:chgData name="Martin Filzmair" userId="9f2635aa-98bd-488f-8ebc-52634097194c" providerId="ADAL" clId="{A591FB47-B660-4782-B8F7-B4F4886E45BC}" dt="2020-04-15T14:22:39.159" v="245"/>
          <ac:spMkLst>
            <pc:docMk/>
            <pc:sldMk cId="19877614" sldId="3523"/>
            <ac:spMk id="7" creationId="{4B5968A2-A883-424E-839C-969CAEE2B412}"/>
          </ac:spMkLst>
        </pc:spChg>
        <pc:spChg chg="del">
          <ac:chgData name="Martin Filzmair" userId="9f2635aa-98bd-488f-8ebc-52634097194c" providerId="ADAL" clId="{A591FB47-B660-4782-B8F7-B4F4886E45BC}" dt="2020-04-15T14:22:39.159" v="245"/>
          <ac:spMkLst>
            <pc:docMk/>
            <pc:sldMk cId="19877614" sldId="3523"/>
            <ac:spMk id="8" creationId="{C30329C2-A0B0-4F4A-8693-3D553F70C5F4}"/>
          </ac:spMkLst>
        </pc:spChg>
        <pc:spChg chg="del">
          <ac:chgData name="Martin Filzmair" userId="9f2635aa-98bd-488f-8ebc-52634097194c" providerId="ADAL" clId="{A591FB47-B660-4782-B8F7-B4F4886E45BC}" dt="2020-04-15T14:22:42.134" v="246" actId="478"/>
          <ac:spMkLst>
            <pc:docMk/>
            <pc:sldMk cId="19877614" sldId="3523"/>
            <ac:spMk id="9" creationId="{11659409-F6ED-4C94-8A7F-ED0CD98FF957}"/>
          </ac:spMkLst>
        </pc:spChg>
        <pc:spChg chg="add mod">
          <ac:chgData name="Martin Filzmair" userId="9f2635aa-98bd-488f-8ebc-52634097194c" providerId="ADAL" clId="{A591FB47-B660-4782-B8F7-B4F4886E45BC}" dt="2020-04-15T14:24:58.507" v="276" actId="20577"/>
          <ac:spMkLst>
            <pc:docMk/>
            <pc:sldMk cId="19877614" sldId="3523"/>
            <ac:spMk id="10" creationId="{72D74FD0-F8F5-4163-9B37-97F5C8F8D2A3}"/>
          </ac:spMkLst>
        </pc:spChg>
        <pc:spChg chg="add del mod">
          <ac:chgData name="Martin Filzmair" userId="9f2635aa-98bd-488f-8ebc-52634097194c" providerId="ADAL" clId="{A591FB47-B660-4782-B8F7-B4F4886E45BC}" dt="2020-04-15T14:23:29.343" v="253" actId="478"/>
          <ac:spMkLst>
            <pc:docMk/>
            <pc:sldMk cId="19877614" sldId="3523"/>
            <ac:spMk id="11" creationId="{B830A743-A8AA-437F-A152-57DBC6024D10}"/>
          </ac:spMkLst>
        </pc:spChg>
        <pc:spChg chg="add mod">
          <ac:chgData name="Martin Filzmair" userId="9f2635aa-98bd-488f-8ebc-52634097194c" providerId="ADAL" clId="{A591FB47-B660-4782-B8F7-B4F4886E45BC}" dt="2020-04-15T14:25:24.441" v="281" actId="14100"/>
          <ac:spMkLst>
            <pc:docMk/>
            <pc:sldMk cId="19877614" sldId="3523"/>
            <ac:spMk id="17" creationId="{4E83A18F-3C10-4AF0-A8E1-CA7C7D74742D}"/>
          </ac:spMkLst>
        </pc:spChg>
        <pc:spChg chg="add">
          <ac:chgData name="Martin Filzmair" userId="9f2635aa-98bd-488f-8ebc-52634097194c" providerId="ADAL" clId="{A591FB47-B660-4782-B8F7-B4F4886E45BC}" dt="2020-04-15T15:58:57.229" v="1566"/>
          <ac:spMkLst>
            <pc:docMk/>
            <pc:sldMk cId="19877614" sldId="3523"/>
            <ac:spMk id="18" creationId="{E13B90C9-009F-45DA-8E47-267CE41179A8}"/>
          </ac:spMkLst>
        </pc:spChg>
        <pc:graphicFrameChg chg="add del">
          <ac:chgData name="Martin Filzmair" userId="9f2635aa-98bd-488f-8ebc-52634097194c" providerId="ADAL" clId="{A591FB47-B660-4782-B8F7-B4F4886E45BC}" dt="2020-04-15T14:23:14.568" v="248"/>
          <ac:graphicFrameMkLst>
            <pc:docMk/>
            <pc:sldMk cId="19877614" sldId="3523"/>
            <ac:graphicFrameMk id="12" creationId="{F0970909-9C75-436F-A7E5-53C683CCFC73}"/>
          </ac:graphicFrameMkLst>
        </pc:graphicFrameChg>
        <pc:graphicFrameChg chg="add del">
          <ac:chgData name="Martin Filzmair" userId="9f2635aa-98bd-488f-8ebc-52634097194c" providerId="ADAL" clId="{A591FB47-B660-4782-B8F7-B4F4886E45BC}" dt="2020-04-15T14:23:20.500" v="250"/>
          <ac:graphicFrameMkLst>
            <pc:docMk/>
            <pc:sldMk cId="19877614" sldId="3523"/>
            <ac:graphicFrameMk id="13" creationId="{845132D7-E458-4D4A-AF73-A28E250A5AD1}"/>
          </ac:graphicFrameMkLst>
        </pc:graphicFrameChg>
        <pc:graphicFrameChg chg="add del">
          <ac:chgData name="Martin Filzmair" userId="9f2635aa-98bd-488f-8ebc-52634097194c" providerId="ADAL" clId="{A591FB47-B660-4782-B8F7-B4F4886E45BC}" dt="2020-04-15T14:23:27.018" v="252"/>
          <ac:graphicFrameMkLst>
            <pc:docMk/>
            <pc:sldMk cId="19877614" sldId="3523"/>
            <ac:graphicFrameMk id="14" creationId="{3756BA27-1A5B-49A3-B1BC-CE3BE4596973}"/>
          </ac:graphicFrameMkLst>
        </pc:graphicFrameChg>
        <pc:graphicFrameChg chg="add del mod">
          <ac:chgData name="Martin Filzmair" userId="9f2635aa-98bd-488f-8ebc-52634097194c" providerId="ADAL" clId="{A591FB47-B660-4782-B8F7-B4F4886E45BC}" dt="2020-04-15T14:23:37.913" v="256" actId="478"/>
          <ac:graphicFrameMkLst>
            <pc:docMk/>
            <pc:sldMk cId="19877614" sldId="3523"/>
            <ac:graphicFrameMk id="15" creationId="{124B4CAD-62A7-46F1-A323-6E659CB7895A}"/>
          </ac:graphicFrameMkLst>
        </pc:graphicFrameChg>
        <pc:graphicFrameChg chg="add mod modGraphic">
          <ac:chgData name="Martin Filzmair" userId="9f2635aa-98bd-488f-8ebc-52634097194c" providerId="ADAL" clId="{A591FB47-B660-4782-B8F7-B4F4886E45BC}" dt="2020-04-16T13:40:49.086" v="1876" actId="20577"/>
          <ac:graphicFrameMkLst>
            <pc:docMk/>
            <pc:sldMk cId="19877614" sldId="3523"/>
            <ac:graphicFrameMk id="16" creationId="{8D1AE700-50DA-428F-84C1-5A8348DFB1A5}"/>
          </ac:graphicFrameMkLst>
        </pc:graphicFrameChg>
      </pc:sldChg>
      <pc:sldChg chg="del">
        <pc:chgData name="Martin Filzmair" userId="9f2635aa-98bd-488f-8ebc-52634097194c" providerId="ADAL" clId="{A591FB47-B660-4782-B8F7-B4F4886E45BC}" dt="2020-04-15T14:17:12.902" v="57" actId="2696"/>
        <pc:sldMkLst>
          <pc:docMk/>
          <pc:sldMk cId="145010412" sldId="3523"/>
        </pc:sldMkLst>
      </pc:sldChg>
      <pc:sldChg chg="addSp delSp modSp">
        <pc:chgData name="Martin Filzmair" userId="9f2635aa-98bd-488f-8ebc-52634097194c" providerId="ADAL" clId="{A591FB47-B660-4782-B8F7-B4F4886E45BC}" dt="2020-04-15T15:39:42.638" v="1087"/>
        <pc:sldMkLst>
          <pc:docMk/>
          <pc:sldMk cId="93365489" sldId="3524"/>
        </pc:sldMkLst>
        <pc:spChg chg="add">
          <ac:chgData name="Martin Filzmair" userId="9f2635aa-98bd-488f-8ebc-52634097194c" providerId="ADAL" clId="{A591FB47-B660-4782-B8F7-B4F4886E45BC}" dt="2020-04-15T15:39:42.638" v="1087"/>
          <ac:spMkLst>
            <pc:docMk/>
            <pc:sldMk cId="93365489" sldId="3524"/>
            <ac:spMk id="18" creationId="{02E60335-8242-4AF4-A7AB-B658404029B1}"/>
          </ac:spMkLst>
        </pc:spChg>
        <pc:picChg chg="del">
          <ac:chgData name="Martin Filzmair" userId="9f2635aa-98bd-488f-8ebc-52634097194c" providerId="ADAL" clId="{A591FB47-B660-4782-B8F7-B4F4886E45BC}" dt="2020-04-15T14:31:03.380" v="476" actId="478"/>
          <ac:picMkLst>
            <pc:docMk/>
            <pc:sldMk cId="93365489" sldId="3524"/>
            <ac:picMk id="9" creationId="{A1ADDF12-61FA-4707-8D0A-354499648DD9}"/>
          </ac:picMkLst>
        </pc:picChg>
        <pc:picChg chg="del">
          <ac:chgData name="Martin Filzmair" userId="9f2635aa-98bd-488f-8ebc-52634097194c" providerId="ADAL" clId="{A591FB47-B660-4782-B8F7-B4F4886E45BC}" dt="2020-04-15T14:30:58.705" v="470" actId="478"/>
          <ac:picMkLst>
            <pc:docMk/>
            <pc:sldMk cId="93365489" sldId="3524"/>
            <ac:picMk id="11" creationId="{18F6AB85-37AB-43DB-AE9E-41F290304577}"/>
          </ac:picMkLst>
        </pc:picChg>
        <pc:picChg chg="del">
          <ac:chgData name="Martin Filzmair" userId="9f2635aa-98bd-488f-8ebc-52634097194c" providerId="ADAL" clId="{A591FB47-B660-4782-B8F7-B4F4886E45BC}" dt="2020-04-15T14:31:02.846" v="475" actId="478"/>
          <ac:picMkLst>
            <pc:docMk/>
            <pc:sldMk cId="93365489" sldId="3524"/>
            <ac:picMk id="13" creationId="{0A86EFEF-3572-49FD-9693-EBE8D8A18591}"/>
          </ac:picMkLst>
        </pc:picChg>
        <pc:picChg chg="del">
          <ac:chgData name="Martin Filzmair" userId="9f2635aa-98bd-488f-8ebc-52634097194c" providerId="ADAL" clId="{A591FB47-B660-4782-B8F7-B4F4886E45BC}" dt="2020-04-15T14:30:59.713" v="471" actId="478"/>
          <ac:picMkLst>
            <pc:docMk/>
            <pc:sldMk cId="93365489" sldId="3524"/>
            <ac:picMk id="15" creationId="{0BCFD858-071D-4434-8B7B-BF4366DD53CA}"/>
          </ac:picMkLst>
        </pc:picChg>
        <pc:picChg chg="add mod ord">
          <ac:chgData name="Martin Filzmair" userId="9f2635aa-98bd-488f-8ebc-52634097194c" providerId="ADAL" clId="{A591FB47-B660-4782-B8F7-B4F4886E45BC}" dt="2020-04-15T14:31:36.896" v="489" actId="1037"/>
          <ac:picMkLst>
            <pc:docMk/>
            <pc:sldMk cId="93365489" sldId="3524"/>
            <ac:picMk id="16" creationId="{41BB5ACC-1656-4BE1-B850-D4F33D0E739B}"/>
          </ac:picMkLst>
        </pc:picChg>
        <pc:picChg chg="del">
          <ac:chgData name="Martin Filzmair" userId="9f2635aa-98bd-488f-8ebc-52634097194c" providerId="ADAL" clId="{A591FB47-B660-4782-B8F7-B4F4886E45BC}" dt="2020-04-15T14:31:02.222" v="474" actId="478"/>
          <ac:picMkLst>
            <pc:docMk/>
            <pc:sldMk cId="93365489" sldId="3524"/>
            <ac:picMk id="17" creationId="{8434A8C0-8358-445F-A20A-BB1DAA795080}"/>
          </ac:picMkLst>
        </pc:picChg>
        <pc:picChg chg="del">
          <ac:chgData name="Martin Filzmair" userId="9f2635aa-98bd-488f-8ebc-52634097194c" providerId="ADAL" clId="{A591FB47-B660-4782-B8F7-B4F4886E45BC}" dt="2020-04-15T14:31:01.204" v="473" actId="478"/>
          <ac:picMkLst>
            <pc:docMk/>
            <pc:sldMk cId="93365489" sldId="3524"/>
            <ac:picMk id="19" creationId="{7AC8CB86-0AF1-4243-B65D-A1DFBDCB0846}"/>
          </ac:picMkLst>
        </pc:picChg>
        <pc:picChg chg="del">
          <ac:chgData name="Martin Filzmair" userId="9f2635aa-98bd-488f-8ebc-52634097194c" providerId="ADAL" clId="{A591FB47-B660-4782-B8F7-B4F4886E45BC}" dt="2020-04-15T14:31:00.610" v="472" actId="478"/>
          <ac:picMkLst>
            <pc:docMk/>
            <pc:sldMk cId="93365489" sldId="3524"/>
            <ac:picMk id="21" creationId="{D8318750-B349-435D-8EDE-353E310C9CEF}"/>
          </ac:picMkLst>
        </pc:picChg>
        <pc:picChg chg="del">
          <ac:chgData name="Martin Filzmair" userId="9f2635aa-98bd-488f-8ebc-52634097194c" providerId="ADAL" clId="{A591FB47-B660-4782-B8F7-B4F4886E45BC}" dt="2020-04-15T14:31:04.035" v="477" actId="478"/>
          <ac:picMkLst>
            <pc:docMk/>
            <pc:sldMk cId="93365489" sldId="3524"/>
            <ac:picMk id="23" creationId="{1C3B1F7A-026B-4280-AAF1-F61A772E34C9}"/>
          </ac:picMkLst>
        </pc:picChg>
        <pc:picChg chg="del">
          <ac:chgData name="Martin Filzmair" userId="9f2635aa-98bd-488f-8ebc-52634097194c" providerId="ADAL" clId="{A591FB47-B660-4782-B8F7-B4F4886E45BC}" dt="2020-04-15T14:31:04.539" v="478" actId="478"/>
          <ac:picMkLst>
            <pc:docMk/>
            <pc:sldMk cId="93365489" sldId="3524"/>
            <ac:picMk id="25" creationId="{926AB2FD-93BF-4BE2-AE29-D424A50F4F91}"/>
          </ac:picMkLst>
        </pc:picChg>
        <pc:picChg chg="del">
          <ac:chgData name="Martin Filzmair" userId="9f2635aa-98bd-488f-8ebc-52634097194c" providerId="ADAL" clId="{A591FB47-B660-4782-B8F7-B4F4886E45BC}" dt="2020-04-15T14:30:57.756" v="469" actId="478"/>
          <ac:picMkLst>
            <pc:docMk/>
            <pc:sldMk cId="93365489" sldId="3524"/>
            <ac:picMk id="27" creationId="{D0A99D86-1E29-4C4C-9125-113B2B6BC419}"/>
          </ac:picMkLst>
        </pc:picChg>
        <pc:picChg chg="del">
          <ac:chgData name="Martin Filzmair" userId="9f2635aa-98bd-488f-8ebc-52634097194c" providerId="ADAL" clId="{A591FB47-B660-4782-B8F7-B4F4886E45BC}" dt="2020-04-15T14:31:08.102" v="479" actId="478"/>
          <ac:picMkLst>
            <pc:docMk/>
            <pc:sldMk cId="93365489" sldId="3524"/>
            <ac:picMk id="28" creationId="{6392714F-A0FB-417C-9EC2-53245AECC161}"/>
          </ac:picMkLst>
        </pc:picChg>
      </pc:sldChg>
      <pc:sldChg chg="del">
        <pc:chgData name="Martin Filzmair" userId="9f2635aa-98bd-488f-8ebc-52634097194c" providerId="ADAL" clId="{A591FB47-B660-4782-B8F7-B4F4886E45BC}" dt="2020-04-15T14:17:13.439" v="58" actId="2696"/>
        <pc:sldMkLst>
          <pc:docMk/>
          <pc:sldMk cId="3676679776" sldId="3524"/>
        </pc:sldMkLst>
      </pc:sldChg>
      <pc:sldChg chg="addSp delSp modSp">
        <pc:chgData name="Martin Filzmair" userId="9f2635aa-98bd-488f-8ebc-52634097194c" providerId="ADAL" clId="{A591FB47-B660-4782-B8F7-B4F4886E45BC}" dt="2020-04-15T15:58:20.344" v="1558"/>
        <pc:sldMkLst>
          <pc:docMk/>
          <pc:sldMk cId="2460749138" sldId="3525"/>
        </pc:sldMkLst>
        <pc:spChg chg="add">
          <ac:chgData name="Martin Filzmair" userId="9f2635aa-98bd-488f-8ebc-52634097194c" providerId="ADAL" clId="{A591FB47-B660-4782-B8F7-B4F4886E45BC}" dt="2020-04-15T15:58:20.344" v="1558"/>
          <ac:spMkLst>
            <pc:docMk/>
            <pc:sldMk cId="2460749138" sldId="3525"/>
            <ac:spMk id="7" creationId="{C6D6340E-8629-46F6-B1FD-A9D364B312D0}"/>
          </ac:spMkLst>
        </pc:spChg>
        <pc:spChg chg="mod">
          <ac:chgData name="Martin Filzmair" userId="9f2635aa-98bd-488f-8ebc-52634097194c" providerId="ADAL" clId="{A591FB47-B660-4782-B8F7-B4F4886E45BC}" dt="2020-04-15T14:32:31.734" v="510" actId="1038"/>
          <ac:spMkLst>
            <pc:docMk/>
            <pc:sldMk cId="2460749138" sldId="3525"/>
            <ac:spMk id="29" creationId="{222CDA01-E020-4BC0-872F-E400AA7107CE}"/>
          </ac:spMkLst>
        </pc:spChg>
        <pc:picChg chg="add mod ord">
          <ac:chgData name="Martin Filzmair" userId="9f2635aa-98bd-488f-8ebc-52634097194c" providerId="ADAL" clId="{A591FB47-B660-4782-B8F7-B4F4886E45BC}" dt="2020-04-15T14:32:26.969" v="497" actId="14100"/>
          <ac:picMkLst>
            <pc:docMk/>
            <pc:sldMk cId="2460749138" sldId="3525"/>
            <ac:picMk id="5" creationId="{115B6AC3-DFBF-46CA-A80D-BED0983C8B83}"/>
          </ac:picMkLst>
        </pc:picChg>
        <pc:picChg chg="del">
          <ac:chgData name="Martin Filzmair" userId="9f2635aa-98bd-488f-8ebc-52634097194c" providerId="ADAL" clId="{A591FB47-B660-4782-B8F7-B4F4886E45BC}" dt="2020-04-15T14:32:01.077" v="491" actId="478"/>
          <ac:picMkLst>
            <pc:docMk/>
            <pc:sldMk cId="2460749138" sldId="3525"/>
            <ac:picMk id="16" creationId="{41BB5ACC-1656-4BE1-B850-D4F33D0E739B}"/>
          </ac:picMkLst>
        </pc:picChg>
      </pc:sldChg>
      <pc:sldChg chg="del">
        <pc:chgData name="Martin Filzmair" userId="9f2635aa-98bd-488f-8ebc-52634097194c" providerId="ADAL" clId="{A591FB47-B660-4782-B8F7-B4F4886E45BC}" dt="2020-04-15T14:17:14.185" v="60" actId="2696"/>
        <pc:sldMkLst>
          <pc:docMk/>
          <pc:sldMk cId="1647684169" sldId="3526"/>
        </pc:sldMkLst>
      </pc:sldChg>
      <pc:sldChg chg="addSp delSp modSp ord">
        <pc:chgData name="Martin Filzmair" userId="9f2635aa-98bd-488f-8ebc-52634097194c" providerId="ADAL" clId="{A591FB47-B660-4782-B8F7-B4F4886E45BC}" dt="2020-04-15T15:58:16.666" v="1557"/>
        <pc:sldMkLst>
          <pc:docMk/>
          <pc:sldMk cId="1762788070" sldId="3526"/>
        </pc:sldMkLst>
        <pc:spChg chg="add">
          <ac:chgData name="Martin Filzmair" userId="9f2635aa-98bd-488f-8ebc-52634097194c" providerId="ADAL" clId="{A591FB47-B660-4782-B8F7-B4F4886E45BC}" dt="2020-04-15T15:58:16.666" v="1557"/>
          <ac:spMkLst>
            <pc:docMk/>
            <pc:sldMk cId="1762788070" sldId="3526"/>
            <ac:spMk id="8" creationId="{A5019824-C5BD-44A5-BECD-44ABFD85FD18}"/>
          </ac:spMkLst>
        </pc:spChg>
        <pc:picChg chg="del">
          <ac:chgData name="Martin Filzmair" userId="9f2635aa-98bd-488f-8ebc-52634097194c" providerId="ADAL" clId="{A591FB47-B660-4782-B8F7-B4F4886E45BC}" dt="2020-04-15T14:32:55.471" v="512" actId="478"/>
          <ac:picMkLst>
            <pc:docMk/>
            <pc:sldMk cId="1762788070" sldId="3526"/>
            <ac:picMk id="5" creationId="{115B6AC3-DFBF-46CA-A80D-BED0983C8B83}"/>
          </ac:picMkLst>
        </pc:picChg>
        <pc:picChg chg="add mod ord">
          <ac:chgData name="Martin Filzmair" userId="9f2635aa-98bd-488f-8ebc-52634097194c" providerId="ADAL" clId="{A591FB47-B660-4782-B8F7-B4F4886E45BC}" dt="2020-04-15T14:33:42.793" v="520" actId="1037"/>
          <ac:picMkLst>
            <pc:docMk/>
            <pc:sldMk cId="1762788070" sldId="3526"/>
            <ac:picMk id="7" creationId="{7E98FC29-AE80-4998-B9C3-8EEEB4F15A4A}"/>
          </ac:picMkLst>
        </pc:picChg>
      </pc:sldChg>
      <pc:sldChg chg="addSp delSp modSp">
        <pc:chgData name="Martin Filzmair" userId="9f2635aa-98bd-488f-8ebc-52634097194c" providerId="ADAL" clId="{A591FB47-B660-4782-B8F7-B4F4886E45BC}" dt="2020-04-15T15:58:25.024" v="1559"/>
        <pc:sldMkLst>
          <pc:docMk/>
          <pc:sldMk cId="1992220464" sldId="3527"/>
        </pc:sldMkLst>
        <pc:spChg chg="add">
          <ac:chgData name="Martin Filzmair" userId="9f2635aa-98bd-488f-8ebc-52634097194c" providerId="ADAL" clId="{A591FB47-B660-4782-B8F7-B4F4886E45BC}" dt="2020-04-15T15:58:25.024" v="1559"/>
          <ac:spMkLst>
            <pc:docMk/>
            <pc:sldMk cId="1992220464" sldId="3527"/>
            <ac:spMk id="8" creationId="{7A933078-9FC5-4FBB-8747-0E3C8538D1A3}"/>
          </ac:spMkLst>
        </pc:spChg>
        <pc:picChg chg="del">
          <ac:chgData name="Martin Filzmair" userId="9f2635aa-98bd-488f-8ebc-52634097194c" providerId="ADAL" clId="{A591FB47-B660-4782-B8F7-B4F4886E45BC}" dt="2020-04-15T14:34:10.025" v="522" actId="478"/>
          <ac:picMkLst>
            <pc:docMk/>
            <pc:sldMk cId="1992220464" sldId="3527"/>
            <ac:picMk id="5" creationId="{115B6AC3-DFBF-46CA-A80D-BED0983C8B83}"/>
          </ac:picMkLst>
        </pc:picChg>
        <pc:picChg chg="add mod ord">
          <ac:chgData name="Martin Filzmair" userId="9f2635aa-98bd-488f-8ebc-52634097194c" providerId="ADAL" clId="{A591FB47-B660-4782-B8F7-B4F4886E45BC}" dt="2020-04-15T14:34:31.311" v="528" actId="1038"/>
          <ac:picMkLst>
            <pc:docMk/>
            <pc:sldMk cId="1992220464" sldId="3527"/>
            <ac:picMk id="7" creationId="{CA146DC4-192C-4BDE-A039-182126B2F331}"/>
          </ac:picMkLst>
        </pc:picChg>
      </pc:sldChg>
      <pc:sldChg chg="addSp delSp modSp">
        <pc:chgData name="Martin Filzmair" userId="9f2635aa-98bd-488f-8ebc-52634097194c" providerId="ADAL" clId="{A591FB47-B660-4782-B8F7-B4F4886E45BC}" dt="2020-04-15T15:58:29.491" v="1560"/>
        <pc:sldMkLst>
          <pc:docMk/>
          <pc:sldMk cId="1445228863" sldId="3528"/>
        </pc:sldMkLst>
        <pc:spChg chg="add del mod">
          <ac:chgData name="Martin Filzmair" userId="9f2635aa-98bd-488f-8ebc-52634097194c" providerId="ADAL" clId="{A591FB47-B660-4782-B8F7-B4F4886E45BC}" dt="2020-04-15T15:38:48.993" v="1075"/>
          <ac:spMkLst>
            <pc:docMk/>
            <pc:sldMk cId="1445228863" sldId="3528"/>
            <ac:spMk id="2" creationId="{94BA8B00-72CE-48DB-89A3-C27E0494024B}"/>
          </ac:spMkLst>
        </pc:spChg>
        <pc:spChg chg="add">
          <ac:chgData name="Martin Filzmair" userId="9f2635aa-98bd-488f-8ebc-52634097194c" providerId="ADAL" clId="{A591FB47-B660-4782-B8F7-B4F4886E45BC}" dt="2020-04-15T15:58:29.491" v="1560"/>
          <ac:spMkLst>
            <pc:docMk/>
            <pc:sldMk cId="1445228863" sldId="3528"/>
            <ac:spMk id="8" creationId="{53AF9F4E-673D-4758-8094-1F55F6DDFB72}"/>
          </ac:spMkLst>
        </pc:spChg>
        <pc:picChg chg="add mod ord modCrop">
          <ac:chgData name="Martin Filzmair" userId="9f2635aa-98bd-488f-8ebc-52634097194c" providerId="ADAL" clId="{A591FB47-B660-4782-B8F7-B4F4886E45BC}" dt="2020-04-15T14:36:13.546" v="553" actId="1038"/>
          <ac:picMkLst>
            <pc:docMk/>
            <pc:sldMk cId="1445228863" sldId="3528"/>
            <ac:picMk id="5" creationId="{5E24A0C4-38CF-4D1E-8EEC-8450EE4C8562}"/>
          </ac:picMkLst>
        </pc:picChg>
        <pc:picChg chg="del">
          <ac:chgData name="Martin Filzmair" userId="9f2635aa-98bd-488f-8ebc-52634097194c" providerId="ADAL" clId="{A591FB47-B660-4782-B8F7-B4F4886E45BC}" dt="2020-04-15T14:35:11.307" v="530" actId="478"/>
          <ac:picMkLst>
            <pc:docMk/>
            <pc:sldMk cId="1445228863" sldId="3528"/>
            <ac:picMk id="7" creationId="{CA146DC4-192C-4BDE-A039-182126B2F331}"/>
          </ac:picMkLst>
        </pc:picChg>
      </pc:sldChg>
      <pc:sldChg chg="del">
        <pc:chgData name="Martin Filzmair" userId="9f2635aa-98bd-488f-8ebc-52634097194c" providerId="ADAL" clId="{A591FB47-B660-4782-B8F7-B4F4886E45BC}" dt="2020-04-15T14:17:15.164" v="63" actId="2696"/>
        <pc:sldMkLst>
          <pc:docMk/>
          <pc:sldMk cId="1788499424" sldId="3528"/>
        </pc:sldMkLst>
      </pc:sldChg>
      <pc:sldChg chg="addSp delSp modSp ord">
        <pc:chgData name="Martin Filzmair" userId="9f2635aa-98bd-488f-8ebc-52634097194c" providerId="ADAL" clId="{A591FB47-B660-4782-B8F7-B4F4886E45BC}" dt="2020-04-15T15:58:12.997" v="1556"/>
        <pc:sldMkLst>
          <pc:docMk/>
          <pc:sldMk cId="848648234" sldId="3529"/>
        </pc:sldMkLst>
        <pc:spChg chg="add">
          <ac:chgData name="Martin Filzmair" userId="9f2635aa-98bd-488f-8ebc-52634097194c" providerId="ADAL" clId="{A591FB47-B660-4782-B8F7-B4F4886E45BC}" dt="2020-04-15T15:58:12.997" v="1556"/>
          <ac:spMkLst>
            <pc:docMk/>
            <pc:sldMk cId="848648234" sldId="3529"/>
            <ac:spMk id="8" creationId="{B66B4594-B4AE-4C8F-8E82-03F4E28AC892}"/>
          </ac:spMkLst>
        </pc:spChg>
        <pc:picChg chg="del">
          <ac:chgData name="Martin Filzmair" userId="9f2635aa-98bd-488f-8ebc-52634097194c" providerId="ADAL" clId="{A591FB47-B660-4782-B8F7-B4F4886E45BC}" dt="2020-04-15T14:40:36.511" v="586" actId="478"/>
          <ac:picMkLst>
            <pc:docMk/>
            <pc:sldMk cId="848648234" sldId="3529"/>
            <ac:picMk id="5" creationId="{5E24A0C4-38CF-4D1E-8EEC-8450EE4C8562}"/>
          </ac:picMkLst>
        </pc:picChg>
        <pc:picChg chg="add mod ord modCrop">
          <ac:chgData name="Martin Filzmair" userId="9f2635aa-98bd-488f-8ebc-52634097194c" providerId="ADAL" clId="{A591FB47-B660-4782-B8F7-B4F4886E45BC}" dt="2020-04-15T14:41:01.313" v="595" actId="14100"/>
          <ac:picMkLst>
            <pc:docMk/>
            <pc:sldMk cId="848648234" sldId="3529"/>
            <ac:picMk id="7" creationId="{6DAA725C-D3C3-477A-8E85-5D9C7056C2CF}"/>
          </ac:picMkLst>
        </pc:picChg>
      </pc:sldChg>
      <pc:sldChg chg="del">
        <pc:chgData name="Martin Filzmair" userId="9f2635aa-98bd-488f-8ebc-52634097194c" providerId="ADAL" clId="{A591FB47-B660-4782-B8F7-B4F4886E45BC}" dt="2020-04-15T14:17:16.368" v="67" actId="2696"/>
        <pc:sldMkLst>
          <pc:docMk/>
          <pc:sldMk cId="2183253022" sldId="3529"/>
        </pc:sldMkLst>
      </pc:sldChg>
      <pc:sldChg chg="addSp delSp modSp ord">
        <pc:chgData name="Martin Filzmair" userId="9f2635aa-98bd-488f-8ebc-52634097194c" providerId="ADAL" clId="{A591FB47-B660-4782-B8F7-B4F4886E45BC}" dt="2020-04-15T15:39:45.782" v="1088"/>
        <pc:sldMkLst>
          <pc:docMk/>
          <pc:sldMk cId="4097156273" sldId="3530"/>
        </pc:sldMkLst>
        <pc:spChg chg="add">
          <ac:chgData name="Martin Filzmair" userId="9f2635aa-98bd-488f-8ebc-52634097194c" providerId="ADAL" clId="{A591FB47-B660-4782-B8F7-B4F4886E45BC}" dt="2020-04-15T15:39:45.782" v="1088"/>
          <ac:spMkLst>
            <pc:docMk/>
            <pc:sldMk cId="4097156273" sldId="3530"/>
            <ac:spMk id="8" creationId="{05806A6F-D86C-450D-A963-12FE63477F90}"/>
          </ac:spMkLst>
        </pc:spChg>
        <pc:picChg chg="del">
          <ac:chgData name="Martin Filzmair" userId="9f2635aa-98bd-488f-8ebc-52634097194c" providerId="ADAL" clId="{A591FB47-B660-4782-B8F7-B4F4886E45BC}" dt="2020-04-15T14:38:50.173" v="568" actId="478"/>
          <ac:picMkLst>
            <pc:docMk/>
            <pc:sldMk cId="4097156273" sldId="3530"/>
            <ac:picMk id="5" creationId="{5E24A0C4-38CF-4D1E-8EEC-8450EE4C8562}"/>
          </ac:picMkLst>
        </pc:picChg>
        <pc:picChg chg="add mod ord modCrop">
          <ac:chgData name="Martin Filzmair" userId="9f2635aa-98bd-488f-8ebc-52634097194c" providerId="ADAL" clId="{A591FB47-B660-4782-B8F7-B4F4886E45BC}" dt="2020-04-15T14:39:51.872" v="581" actId="1076"/>
          <ac:picMkLst>
            <pc:docMk/>
            <pc:sldMk cId="4097156273" sldId="3530"/>
            <ac:picMk id="7" creationId="{19BE7255-DE16-4AF1-A30A-8AFC2AB3F899}"/>
          </ac:picMkLst>
        </pc:picChg>
      </pc:sldChg>
      <pc:sldChg chg="addSp delSp modSp ord">
        <pc:chgData name="Martin Filzmair" userId="9f2635aa-98bd-488f-8ebc-52634097194c" providerId="ADAL" clId="{A591FB47-B660-4782-B8F7-B4F4886E45BC}" dt="2020-04-16T09:37:09.957" v="1755"/>
        <pc:sldMkLst>
          <pc:docMk/>
          <pc:sldMk cId="3702704163" sldId="3531"/>
        </pc:sldMkLst>
        <pc:spChg chg="mod">
          <ac:chgData name="Martin Filzmair" userId="9f2635aa-98bd-488f-8ebc-52634097194c" providerId="ADAL" clId="{A591FB47-B660-4782-B8F7-B4F4886E45BC}" dt="2020-04-15T14:44:47.897" v="612" actId="207"/>
          <ac:spMkLst>
            <pc:docMk/>
            <pc:sldMk cId="3702704163" sldId="3531"/>
            <ac:spMk id="6" creationId="{01AEDF92-E83B-4A4E-AA02-1843599D92AA}"/>
          </ac:spMkLst>
        </pc:spChg>
        <pc:spChg chg="add">
          <ac:chgData name="Martin Filzmair" userId="9f2635aa-98bd-488f-8ebc-52634097194c" providerId="ADAL" clId="{A591FB47-B660-4782-B8F7-B4F4886E45BC}" dt="2020-04-16T09:37:09.957" v="1755"/>
          <ac:spMkLst>
            <pc:docMk/>
            <pc:sldMk cId="3702704163" sldId="3531"/>
            <ac:spMk id="8" creationId="{376AA8CB-107D-463D-9BC6-C294967F6DAD}"/>
          </ac:spMkLst>
        </pc:spChg>
        <pc:spChg chg="add del mod">
          <ac:chgData name="Martin Filzmair" userId="9f2635aa-98bd-488f-8ebc-52634097194c" providerId="ADAL" clId="{A591FB47-B660-4782-B8F7-B4F4886E45BC}" dt="2020-04-16T09:37:01.361" v="1754" actId="478"/>
          <ac:spMkLst>
            <pc:docMk/>
            <pc:sldMk cId="3702704163" sldId="3531"/>
            <ac:spMk id="10" creationId="{1867A573-9BC2-463E-A5AA-1DB7FA58A937}"/>
          </ac:spMkLst>
        </pc:spChg>
        <pc:spChg chg="mod">
          <ac:chgData name="Martin Filzmair" userId="9f2635aa-98bd-488f-8ebc-52634097194c" providerId="ADAL" clId="{A591FB47-B660-4782-B8F7-B4F4886E45BC}" dt="2020-04-15T14:45:45.527" v="628" actId="1076"/>
          <ac:spMkLst>
            <pc:docMk/>
            <pc:sldMk cId="3702704163" sldId="3531"/>
            <ac:spMk id="29" creationId="{222CDA01-E020-4BC0-872F-E400AA7107CE}"/>
          </ac:spMkLst>
        </pc:spChg>
        <pc:picChg chg="del">
          <ac:chgData name="Martin Filzmair" userId="9f2635aa-98bd-488f-8ebc-52634097194c" providerId="ADAL" clId="{A591FB47-B660-4782-B8F7-B4F4886E45BC}" dt="2020-04-15T14:44:33.922" v="600" actId="478"/>
          <ac:picMkLst>
            <pc:docMk/>
            <pc:sldMk cId="3702704163" sldId="3531"/>
            <ac:picMk id="5" creationId="{5E24A0C4-38CF-4D1E-8EEC-8450EE4C8562}"/>
          </ac:picMkLst>
        </pc:picChg>
        <pc:picChg chg="add mod ord modCrop">
          <ac:chgData name="Martin Filzmair" userId="9f2635aa-98bd-488f-8ebc-52634097194c" providerId="ADAL" clId="{A591FB47-B660-4782-B8F7-B4F4886E45BC}" dt="2020-04-15T14:46:59.297" v="641" actId="14100"/>
          <ac:picMkLst>
            <pc:docMk/>
            <pc:sldMk cId="3702704163" sldId="3531"/>
            <ac:picMk id="7" creationId="{D1733D26-BAF9-4781-A04F-A08FC7E59A49}"/>
          </ac:picMkLst>
        </pc:picChg>
        <pc:picChg chg="add del">
          <ac:chgData name="Martin Filzmair" userId="9f2635aa-98bd-488f-8ebc-52634097194c" providerId="ADAL" clId="{A591FB47-B660-4782-B8F7-B4F4886E45BC}" dt="2020-04-15T14:47:07.587" v="642"/>
          <ac:picMkLst>
            <pc:docMk/>
            <pc:sldMk cId="3702704163" sldId="3531"/>
            <ac:picMk id="8" creationId="{060CB179-9EA4-4190-91B8-7DC32230F392}"/>
          </ac:picMkLst>
        </pc:picChg>
        <pc:picChg chg="add del mod ord">
          <ac:chgData name="Martin Filzmair" userId="9f2635aa-98bd-488f-8ebc-52634097194c" providerId="ADAL" clId="{A591FB47-B660-4782-B8F7-B4F4886E45BC}" dt="2020-04-15T14:46:15.171" v="632" actId="478"/>
          <ac:picMkLst>
            <pc:docMk/>
            <pc:sldMk cId="3702704163" sldId="3531"/>
            <ac:picMk id="9" creationId="{9D2D373B-E820-4D93-84CB-33934478C370}"/>
          </ac:picMkLst>
        </pc:picChg>
      </pc:sldChg>
      <pc:sldChg chg="addSp delSp">
        <pc:chgData name="Martin Filzmair" userId="9f2635aa-98bd-488f-8ebc-52634097194c" providerId="ADAL" clId="{A591FB47-B660-4782-B8F7-B4F4886E45BC}" dt="2020-04-15T15:58:43.200" v="1563"/>
        <pc:sldMkLst>
          <pc:docMk/>
          <pc:sldMk cId="2241364271" sldId="3532"/>
        </pc:sldMkLst>
        <pc:spChg chg="add">
          <ac:chgData name="Martin Filzmair" userId="9f2635aa-98bd-488f-8ebc-52634097194c" providerId="ADAL" clId="{A591FB47-B660-4782-B8F7-B4F4886E45BC}" dt="2020-04-15T15:58:43.200" v="1563"/>
          <ac:spMkLst>
            <pc:docMk/>
            <pc:sldMk cId="2241364271" sldId="3532"/>
            <ac:spMk id="10" creationId="{ABD25B12-A412-4A5B-B365-D00D93D3199F}"/>
          </ac:spMkLst>
        </pc:spChg>
        <pc:picChg chg="del">
          <ac:chgData name="Martin Filzmair" userId="9f2635aa-98bd-488f-8ebc-52634097194c" providerId="ADAL" clId="{A591FB47-B660-4782-B8F7-B4F4886E45BC}" dt="2020-04-15T14:46:04.019" v="630" actId="478"/>
          <ac:picMkLst>
            <pc:docMk/>
            <pc:sldMk cId="2241364271" sldId="3532"/>
            <ac:picMk id="7" creationId="{D1733D26-BAF9-4781-A04F-A08FC7E59A49}"/>
          </ac:picMkLst>
        </pc:picChg>
        <pc:picChg chg="del">
          <ac:chgData name="Martin Filzmair" userId="9f2635aa-98bd-488f-8ebc-52634097194c" providerId="ADAL" clId="{A591FB47-B660-4782-B8F7-B4F4886E45BC}" dt="2020-04-15T14:46:02.863" v="629" actId="478"/>
          <ac:picMkLst>
            <pc:docMk/>
            <pc:sldMk cId="2241364271" sldId="3532"/>
            <ac:picMk id="8" creationId="{060CB179-9EA4-4190-91B8-7DC32230F392}"/>
          </ac:picMkLst>
        </pc:picChg>
      </pc:sldChg>
      <pc:sldChg chg="del">
        <pc:chgData name="Martin Filzmair" userId="9f2635aa-98bd-488f-8ebc-52634097194c" providerId="ADAL" clId="{A591FB47-B660-4782-B8F7-B4F4886E45BC}" dt="2020-04-15T14:17:13.721" v="59" actId="2696"/>
        <pc:sldMkLst>
          <pc:docMk/>
          <pc:sldMk cId="3911898001" sldId="3532"/>
        </pc:sldMkLst>
      </pc:sldChg>
      <pc:sldChg chg="addSp delSp add del">
        <pc:chgData name="Martin Filzmair" userId="9f2635aa-98bd-488f-8ebc-52634097194c" providerId="ADAL" clId="{A591FB47-B660-4782-B8F7-B4F4886E45BC}" dt="2020-04-15T14:47:32.745" v="647" actId="2696"/>
        <pc:sldMkLst>
          <pc:docMk/>
          <pc:sldMk cId="299252183" sldId="3533"/>
        </pc:sldMkLst>
        <pc:picChg chg="add del">
          <ac:chgData name="Martin Filzmair" userId="9f2635aa-98bd-488f-8ebc-52634097194c" providerId="ADAL" clId="{A591FB47-B660-4782-B8F7-B4F4886E45BC}" dt="2020-04-15T14:47:27.992" v="646"/>
          <ac:picMkLst>
            <pc:docMk/>
            <pc:sldMk cId="299252183" sldId="3533"/>
            <ac:picMk id="10" creationId="{9EC96095-AF85-4C3A-9867-78921F95ADEB}"/>
          </ac:picMkLst>
        </pc:picChg>
      </pc:sldChg>
      <pc:sldChg chg="del">
        <pc:chgData name="Martin Filzmair" userId="9f2635aa-98bd-488f-8ebc-52634097194c" providerId="ADAL" clId="{A591FB47-B660-4782-B8F7-B4F4886E45BC}" dt="2020-04-15T14:17:14.710" v="61" actId="2696"/>
        <pc:sldMkLst>
          <pc:docMk/>
          <pc:sldMk cId="576320866" sldId="3533"/>
        </pc:sldMkLst>
      </pc:sldChg>
      <pc:sldChg chg="del">
        <pc:chgData name="Martin Filzmair" userId="9f2635aa-98bd-488f-8ebc-52634097194c" providerId="ADAL" clId="{A591FB47-B660-4782-B8F7-B4F4886E45BC}" dt="2020-04-15T14:17:15.010" v="62" actId="2696"/>
        <pc:sldMkLst>
          <pc:docMk/>
          <pc:sldMk cId="1780984058" sldId="3534"/>
        </pc:sldMkLst>
      </pc:sldChg>
      <pc:sldChg chg="addSp delSp modSp">
        <pc:chgData name="Martin Filzmair" userId="9f2635aa-98bd-488f-8ebc-52634097194c" providerId="ADAL" clId="{A591FB47-B660-4782-B8F7-B4F4886E45BC}" dt="2020-04-15T15:58:48.633" v="1564"/>
        <pc:sldMkLst>
          <pc:docMk/>
          <pc:sldMk cId="2267681403" sldId="3534"/>
        </pc:sldMkLst>
        <pc:spChg chg="add">
          <ac:chgData name="Martin Filzmair" userId="9f2635aa-98bd-488f-8ebc-52634097194c" providerId="ADAL" clId="{A591FB47-B660-4782-B8F7-B4F4886E45BC}" dt="2020-04-15T15:58:48.633" v="1564"/>
          <ac:spMkLst>
            <pc:docMk/>
            <pc:sldMk cId="2267681403" sldId="3534"/>
            <ac:spMk id="7" creationId="{28855766-3C09-40F7-A2A8-63724D7A1387}"/>
          </ac:spMkLst>
        </pc:spChg>
        <pc:picChg chg="add mod ord modCrop">
          <ac:chgData name="Martin Filzmair" userId="9f2635aa-98bd-488f-8ebc-52634097194c" providerId="ADAL" clId="{A591FB47-B660-4782-B8F7-B4F4886E45BC}" dt="2020-04-15T14:47:53.133" v="654" actId="1076"/>
          <ac:picMkLst>
            <pc:docMk/>
            <pc:sldMk cId="2267681403" sldId="3534"/>
            <ac:picMk id="5" creationId="{5A700D9D-5EF1-421F-A391-A344AD8F8D09}"/>
          </ac:picMkLst>
        </pc:picChg>
        <pc:picChg chg="del">
          <ac:chgData name="Martin Filzmair" userId="9f2635aa-98bd-488f-8ebc-52634097194c" providerId="ADAL" clId="{A591FB47-B660-4782-B8F7-B4F4886E45BC}" dt="2020-04-15T14:47:35.303" v="648" actId="478"/>
          <ac:picMkLst>
            <pc:docMk/>
            <pc:sldMk cId="2267681403" sldId="3534"/>
            <ac:picMk id="9" creationId="{9D2D373B-E820-4D93-84CB-33934478C370}"/>
          </ac:picMkLst>
        </pc:picChg>
      </pc:sldChg>
      <pc:sldChg chg="addSp delSp modSp add ord">
        <pc:chgData name="Martin Filzmair" userId="9f2635aa-98bd-488f-8ebc-52634097194c" providerId="ADAL" clId="{A591FB47-B660-4782-B8F7-B4F4886E45BC}" dt="2020-04-16T12:39:54.397" v="1823" actId="20577"/>
        <pc:sldMkLst>
          <pc:docMk/>
          <pc:sldMk cId="793472673" sldId="3535"/>
        </pc:sldMkLst>
        <pc:spChg chg="del">
          <ac:chgData name="Martin Filzmair" userId="9f2635aa-98bd-488f-8ebc-52634097194c" providerId="ADAL" clId="{A591FB47-B660-4782-B8F7-B4F4886E45BC}" dt="2020-04-15T14:51:43.709" v="656"/>
          <ac:spMkLst>
            <pc:docMk/>
            <pc:sldMk cId="793472673" sldId="3535"/>
            <ac:spMk id="2" creationId="{B8FFF99E-629B-42F3-AD84-2D0CAF5EDC13}"/>
          </ac:spMkLst>
        </pc:spChg>
        <pc:spChg chg="del">
          <ac:chgData name="Martin Filzmair" userId="9f2635aa-98bd-488f-8ebc-52634097194c" providerId="ADAL" clId="{A591FB47-B660-4782-B8F7-B4F4886E45BC}" dt="2020-04-15T14:51:43.709" v="656"/>
          <ac:spMkLst>
            <pc:docMk/>
            <pc:sldMk cId="793472673" sldId="3535"/>
            <ac:spMk id="3" creationId="{D983CC36-D420-48AA-AEC1-66DFB1EF1142}"/>
          </ac:spMkLst>
        </pc:spChg>
        <pc:spChg chg="del">
          <ac:chgData name="Martin Filzmair" userId="9f2635aa-98bd-488f-8ebc-52634097194c" providerId="ADAL" clId="{A591FB47-B660-4782-B8F7-B4F4886E45BC}" dt="2020-04-15T14:51:43.709" v="656"/>
          <ac:spMkLst>
            <pc:docMk/>
            <pc:sldMk cId="793472673" sldId="3535"/>
            <ac:spMk id="4" creationId="{3952E6B2-1EC6-4560-84CC-3F78AD29415A}"/>
          </ac:spMkLst>
        </pc:spChg>
        <pc:spChg chg="del">
          <ac:chgData name="Martin Filzmair" userId="9f2635aa-98bd-488f-8ebc-52634097194c" providerId="ADAL" clId="{A591FB47-B660-4782-B8F7-B4F4886E45BC}" dt="2020-04-15T14:51:43.709" v="656"/>
          <ac:spMkLst>
            <pc:docMk/>
            <pc:sldMk cId="793472673" sldId="3535"/>
            <ac:spMk id="5" creationId="{D1A21E94-3396-46A2-9683-D2969E3E7E7A}"/>
          </ac:spMkLst>
        </pc:spChg>
        <pc:spChg chg="del">
          <ac:chgData name="Martin Filzmair" userId="9f2635aa-98bd-488f-8ebc-52634097194c" providerId="ADAL" clId="{A591FB47-B660-4782-B8F7-B4F4886E45BC}" dt="2020-04-15T14:51:43.709" v="656"/>
          <ac:spMkLst>
            <pc:docMk/>
            <pc:sldMk cId="793472673" sldId="3535"/>
            <ac:spMk id="6" creationId="{20ADB23D-A49B-4312-9672-94DF44801A77}"/>
          </ac:spMkLst>
        </pc:spChg>
        <pc:spChg chg="del">
          <ac:chgData name="Martin Filzmair" userId="9f2635aa-98bd-488f-8ebc-52634097194c" providerId="ADAL" clId="{A591FB47-B660-4782-B8F7-B4F4886E45BC}" dt="2020-04-15T14:51:43.709" v="656"/>
          <ac:spMkLst>
            <pc:docMk/>
            <pc:sldMk cId="793472673" sldId="3535"/>
            <ac:spMk id="7" creationId="{A0E9AFAC-5A96-431D-BC01-47194876B5D1}"/>
          </ac:spMkLst>
        </pc:spChg>
        <pc:spChg chg="del">
          <ac:chgData name="Martin Filzmair" userId="9f2635aa-98bd-488f-8ebc-52634097194c" providerId="ADAL" clId="{A591FB47-B660-4782-B8F7-B4F4886E45BC}" dt="2020-04-15T14:51:43.709" v="656"/>
          <ac:spMkLst>
            <pc:docMk/>
            <pc:sldMk cId="793472673" sldId="3535"/>
            <ac:spMk id="8" creationId="{4C9311F8-5558-47AB-B4C3-78DAFFD40841}"/>
          </ac:spMkLst>
        </pc:spChg>
        <pc:spChg chg="add mod">
          <ac:chgData name="Martin Filzmair" userId="9f2635aa-98bd-488f-8ebc-52634097194c" providerId="ADAL" clId="{A591FB47-B660-4782-B8F7-B4F4886E45BC}" dt="2020-04-15T15:00:38.445" v="803" actId="255"/>
          <ac:spMkLst>
            <pc:docMk/>
            <pc:sldMk cId="793472673" sldId="3535"/>
            <ac:spMk id="10" creationId="{8232A2E7-4445-40D0-ACC0-AF59B9EE127A}"/>
          </ac:spMkLst>
        </pc:spChg>
        <pc:spChg chg="add mod">
          <ac:chgData name="Martin Filzmair" userId="9f2635aa-98bd-488f-8ebc-52634097194c" providerId="ADAL" clId="{A591FB47-B660-4782-B8F7-B4F4886E45BC}" dt="2020-04-16T12:39:54.397" v="1823" actId="20577"/>
          <ac:spMkLst>
            <pc:docMk/>
            <pc:sldMk cId="793472673" sldId="3535"/>
            <ac:spMk id="11" creationId="{8C36776E-F289-4632-A767-1C427547BD8F}"/>
          </ac:spMkLst>
        </pc:spChg>
        <pc:spChg chg="add ord">
          <ac:chgData name="Martin Filzmair" userId="9f2635aa-98bd-488f-8ebc-52634097194c" providerId="ADAL" clId="{A591FB47-B660-4782-B8F7-B4F4886E45BC}" dt="2020-04-16T12:27:09.772" v="1797" actId="166"/>
          <ac:spMkLst>
            <pc:docMk/>
            <pc:sldMk cId="793472673" sldId="3535"/>
            <ac:spMk id="13" creationId="{58C60D9B-A2C2-43F9-AEED-96EB2805EE4D}"/>
          </ac:spMkLst>
        </pc:spChg>
        <pc:picChg chg="add mod">
          <ac:chgData name="Martin Filzmair" userId="9f2635aa-98bd-488f-8ebc-52634097194c" providerId="ADAL" clId="{A591FB47-B660-4782-B8F7-B4F4886E45BC}" dt="2020-04-16T12:27:13.935" v="1798" actId="1076"/>
          <ac:picMkLst>
            <pc:docMk/>
            <pc:sldMk cId="793472673" sldId="3535"/>
            <ac:picMk id="2" creationId="{089864B0-9454-49FC-9991-FEEC1468CFCF}"/>
          </ac:picMkLst>
        </pc:picChg>
        <pc:picChg chg="add del mod">
          <ac:chgData name="Martin Filzmair" userId="9f2635aa-98bd-488f-8ebc-52634097194c" providerId="ADAL" clId="{A591FB47-B660-4782-B8F7-B4F4886E45BC}" dt="2020-04-16T12:27:00.271" v="1795" actId="478"/>
          <ac:picMkLst>
            <pc:docMk/>
            <pc:sldMk cId="793472673" sldId="3535"/>
            <ac:picMk id="12" creationId="{1DEC8625-018E-4280-98A7-4AE3CB4A63F1}"/>
          </ac:picMkLst>
        </pc:picChg>
      </pc:sldChg>
      <pc:sldChg chg="addSp delSp modSp add">
        <pc:chgData name="Martin Filzmair" userId="9f2635aa-98bd-488f-8ebc-52634097194c" providerId="ADAL" clId="{A591FB47-B660-4782-B8F7-B4F4886E45BC}" dt="2020-04-16T12:39:45.856" v="1816" actId="20577"/>
        <pc:sldMkLst>
          <pc:docMk/>
          <pc:sldMk cId="109985368" sldId="3536"/>
        </pc:sldMkLst>
        <pc:spChg chg="del">
          <ac:chgData name="Martin Filzmair" userId="9f2635aa-98bd-488f-8ebc-52634097194c" providerId="ADAL" clId="{A591FB47-B660-4782-B8F7-B4F4886E45BC}" dt="2020-04-15T14:55:01.277" v="661"/>
          <ac:spMkLst>
            <pc:docMk/>
            <pc:sldMk cId="109985368" sldId="3536"/>
            <ac:spMk id="2" creationId="{6941B0A7-2EA0-4ED2-A685-84E41001103D}"/>
          </ac:spMkLst>
        </pc:spChg>
        <pc:spChg chg="del">
          <ac:chgData name="Martin Filzmair" userId="9f2635aa-98bd-488f-8ebc-52634097194c" providerId="ADAL" clId="{A591FB47-B660-4782-B8F7-B4F4886E45BC}" dt="2020-04-15T14:55:01.277" v="661"/>
          <ac:spMkLst>
            <pc:docMk/>
            <pc:sldMk cId="109985368" sldId="3536"/>
            <ac:spMk id="3" creationId="{A790F2C1-D745-4321-BA38-7A581962B825}"/>
          </ac:spMkLst>
        </pc:spChg>
        <pc:spChg chg="del">
          <ac:chgData name="Martin Filzmair" userId="9f2635aa-98bd-488f-8ebc-52634097194c" providerId="ADAL" clId="{A591FB47-B660-4782-B8F7-B4F4886E45BC}" dt="2020-04-15T14:55:01.277" v="661"/>
          <ac:spMkLst>
            <pc:docMk/>
            <pc:sldMk cId="109985368" sldId="3536"/>
            <ac:spMk id="4" creationId="{6A33ED1E-B6AB-4DDD-9F21-6EE69C5ED457}"/>
          </ac:spMkLst>
        </pc:spChg>
        <pc:spChg chg="del">
          <ac:chgData name="Martin Filzmair" userId="9f2635aa-98bd-488f-8ebc-52634097194c" providerId="ADAL" clId="{A591FB47-B660-4782-B8F7-B4F4886E45BC}" dt="2020-04-15T14:55:01.277" v="661"/>
          <ac:spMkLst>
            <pc:docMk/>
            <pc:sldMk cId="109985368" sldId="3536"/>
            <ac:spMk id="5" creationId="{9F06E442-9225-482D-82F0-1F3AFB2EAF00}"/>
          </ac:spMkLst>
        </pc:spChg>
        <pc:spChg chg="del">
          <ac:chgData name="Martin Filzmair" userId="9f2635aa-98bd-488f-8ebc-52634097194c" providerId="ADAL" clId="{A591FB47-B660-4782-B8F7-B4F4886E45BC}" dt="2020-04-15T14:55:01.277" v="661"/>
          <ac:spMkLst>
            <pc:docMk/>
            <pc:sldMk cId="109985368" sldId="3536"/>
            <ac:spMk id="6" creationId="{84B08722-35C5-4A7F-B200-BF5E42AD7389}"/>
          </ac:spMkLst>
        </pc:spChg>
        <pc:spChg chg="del">
          <ac:chgData name="Martin Filzmair" userId="9f2635aa-98bd-488f-8ebc-52634097194c" providerId="ADAL" clId="{A591FB47-B660-4782-B8F7-B4F4886E45BC}" dt="2020-04-15T14:55:01.277" v="661"/>
          <ac:spMkLst>
            <pc:docMk/>
            <pc:sldMk cId="109985368" sldId="3536"/>
            <ac:spMk id="7" creationId="{7336C7E7-549E-403A-AA52-20E9A15E18C6}"/>
          </ac:spMkLst>
        </pc:spChg>
        <pc:spChg chg="del">
          <ac:chgData name="Martin Filzmair" userId="9f2635aa-98bd-488f-8ebc-52634097194c" providerId="ADAL" clId="{A591FB47-B660-4782-B8F7-B4F4886E45BC}" dt="2020-04-15T14:55:01.277" v="661"/>
          <ac:spMkLst>
            <pc:docMk/>
            <pc:sldMk cId="109985368" sldId="3536"/>
            <ac:spMk id="8" creationId="{F5113C83-1B28-4FF1-B6D3-F5D3E5FBB7EF}"/>
          </ac:spMkLst>
        </pc:spChg>
        <pc:spChg chg="add del mod">
          <ac:chgData name="Martin Filzmair" userId="9f2635aa-98bd-488f-8ebc-52634097194c" providerId="ADAL" clId="{A591FB47-B660-4782-B8F7-B4F4886E45BC}" dt="2020-04-15T14:55:01.277" v="661"/>
          <ac:spMkLst>
            <pc:docMk/>
            <pc:sldMk cId="109985368" sldId="3536"/>
            <ac:spMk id="10" creationId="{7AB01733-CEA1-4742-B42E-185F1D2358FD}"/>
          </ac:spMkLst>
        </pc:spChg>
        <pc:spChg chg="add del mod">
          <ac:chgData name="Martin Filzmair" userId="9f2635aa-98bd-488f-8ebc-52634097194c" providerId="ADAL" clId="{A591FB47-B660-4782-B8F7-B4F4886E45BC}" dt="2020-04-15T14:55:03.388" v="662"/>
          <ac:spMkLst>
            <pc:docMk/>
            <pc:sldMk cId="109985368" sldId="3536"/>
            <ac:spMk id="11" creationId="{1F97D21B-EB02-45DD-B058-FFAC4352C588}"/>
          </ac:spMkLst>
        </pc:spChg>
        <pc:spChg chg="add del mod">
          <ac:chgData name="Martin Filzmair" userId="9f2635aa-98bd-488f-8ebc-52634097194c" providerId="ADAL" clId="{A591FB47-B660-4782-B8F7-B4F4886E45BC}" dt="2020-04-15T14:55:03.388" v="662"/>
          <ac:spMkLst>
            <pc:docMk/>
            <pc:sldMk cId="109985368" sldId="3536"/>
            <ac:spMk id="12" creationId="{06D5D404-42BE-49EB-B379-DEE65FF645FE}"/>
          </ac:spMkLst>
        </pc:spChg>
        <pc:spChg chg="add del mod">
          <ac:chgData name="Martin Filzmair" userId="9f2635aa-98bd-488f-8ebc-52634097194c" providerId="ADAL" clId="{A591FB47-B660-4782-B8F7-B4F4886E45BC}" dt="2020-04-15T14:55:03.388" v="662"/>
          <ac:spMkLst>
            <pc:docMk/>
            <pc:sldMk cId="109985368" sldId="3536"/>
            <ac:spMk id="13" creationId="{3206AFB6-9CDC-4A8C-B1C2-1A0A6BDDB49A}"/>
          </ac:spMkLst>
        </pc:spChg>
        <pc:spChg chg="add del mod">
          <ac:chgData name="Martin Filzmair" userId="9f2635aa-98bd-488f-8ebc-52634097194c" providerId="ADAL" clId="{A591FB47-B660-4782-B8F7-B4F4886E45BC}" dt="2020-04-15T14:55:03.388" v="662"/>
          <ac:spMkLst>
            <pc:docMk/>
            <pc:sldMk cId="109985368" sldId="3536"/>
            <ac:spMk id="14" creationId="{981FC2D1-D2DB-4F1E-ACD6-DB41C36F6C93}"/>
          </ac:spMkLst>
        </pc:spChg>
        <pc:spChg chg="add del mod">
          <ac:chgData name="Martin Filzmair" userId="9f2635aa-98bd-488f-8ebc-52634097194c" providerId="ADAL" clId="{A591FB47-B660-4782-B8F7-B4F4886E45BC}" dt="2020-04-15T14:55:03.388" v="662"/>
          <ac:spMkLst>
            <pc:docMk/>
            <pc:sldMk cId="109985368" sldId="3536"/>
            <ac:spMk id="15" creationId="{EE992930-C805-4C9C-B77A-BA4B6EF08956}"/>
          </ac:spMkLst>
        </pc:spChg>
        <pc:spChg chg="add del mod">
          <ac:chgData name="Martin Filzmair" userId="9f2635aa-98bd-488f-8ebc-52634097194c" providerId="ADAL" clId="{A591FB47-B660-4782-B8F7-B4F4886E45BC}" dt="2020-04-15T14:55:03.388" v="662"/>
          <ac:spMkLst>
            <pc:docMk/>
            <pc:sldMk cId="109985368" sldId="3536"/>
            <ac:spMk id="16" creationId="{8474F63C-89D7-4444-9EE1-EB7446C05803}"/>
          </ac:spMkLst>
        </pc:spChg>
        <pc:spChg chg="add del mod">
          <ac:chgData name="Martin Filzmair" userId="9f2635aa-98bd-488f-8ebc-52634097194c" providerId="ADAL" clId="{A591FB47-B660-4782-B8F7-B4F4886E45BC}" dt="2020-04-15T14:55:03.388" v="662"/>
          <ac:spMkLst>
            <pc:docMk/>
            <pc:sldMk cId="109985368" sldId="3536"/>
            <ac:spMk id="17" creationId="{B17F50A7-7753-4D74-B19A-1F2BFE376449}"/>
          </ac:spMkLst>
        </pc:spChg>
        <pc:spChg chg="add del mod">
          <ac:chgData name="Martin Filzmair" userId="9f2635aa-98bd-488f-8ebc-52634097194c" providerId="ADAL" clId="{A591FB47-B660-4782-B8F7-B4F4886E45BC}" dt="2020-04-15T15:00:54.032" v="819" actId="478"/>
          <ac:spMkLst>
            <pc:docMk/>
            <pc:sldMk cId="109985368" sldId="3536"/>
            <ac:spMk id="18" creationId="{1C923BDA-0CCF-4F34-9034-13F367104741}"/>
          </ac:spMkLst>
        </pc:spChg>
        <pc:spChg chg="add del mod">
          <ac:chgData name="Martin Filzmair" userId="9f2635aa-98bd-488f-8ebc-52634097194c" providerId="ADAL" clId="{A591FB47-B660-4782-B8F7-B4F4886E45BC}" dt="2020-04-15T15:00:55.161" v="820" actId="478"/>
          <ac:spMkLst>
            <pc:docMk/>
            <pc:sldMk cId="109985368" sldId="3536"/>
            <ac:spMk id="19" creationId="{AA2C0170-394A-435D-8115-7CD4A7FD2325}"/>
          </ac:spMkLst>
        </pc:spChg>
        <pc:spChg chg="add mod">
          <ac:chgData name="Martin Filzmair" userId="9f2635aa-98bd-488f-8ebc-52634097194c" providerId="ADAL" clId="{A591FB47-B660-4782-B8F7-B4F4886E45BC}" dt="2020-04-15T15:01:00.699" v="823" actId="20577"/>
          <ac:spMkLst>
            <pc:docMk/>
            <pc:sldMk cId="109985368" sldId="3536"/>
            <ac:spMk id="21" creationId="{FFF9ACFD-D1ED-4E9A-A071-8DC3107ED32F}"/>
          </ac:spMkLst>
        </pc:spChg>
        <pc:spChg chg="add mod">
          <ac:chgData name="Martin Filzmair" userId="9f2635aa-98bd-488f-8ebc-52634097194c" providerId="ADAL" clId="{A591FB47-B660-4782-B8F7-B4F4886E45BC}" dt="2020-04-16T12:39:45.856" v="1816" actId="20577"/>
          <ac:spMkLst>
            <pc:docMk/>
            <pc:sldMk cId="109985368" sldId="3536"/>
            <ac:spMk id="22" creationId="{FD09A41C-B42A-412A-B99B-03B2EFA5EA2E}"/>
          </ac:spMkLst>
        </pc:spChg>
        <pc:spChg chg="add ord">
          <ac:chgData name="Martin Filzmair" userId="9f2635aa-98bd-488f-8ebc-52634097194c" providerId="ADAL" clId="{A591FB47-B660-4782-B8F7-B4F4886E45BC}" dt="2020-04-16T12:39:21.879" v="1807" actId="166"/>
          <ac:spMkLst>
            <pc:docMk/>
            <pc:sldMk cId="109985368" sldId="3536"/>
            <ac:spMk id="23" creationId="{4FF89AB8-653C-4527-84C5-764A1BA153D6}"/>
          </ac:spMkLst>
        </pc:spChg>
        <pc:picChg chg="add mod">
          <ac:chgData name="Martin Filzmair" userId="9f2635aa-98bd-488f-8ebc-52634097194c" providerId="ADAL" clId="{A591FB47-B660-4782-B8F7-B4F4886E45BC}" dt="2020-04-16T12:39:24.958" v="1808" actId="1076"/>
          <ac:picMkLst>
            <pc:docMk/>
            <pc:sldMk cId="109985368" sldId="3536"/>
            <ac:picMk id="2" creationId="{BC5A3383-BB52-4BD3-BFD7-DD19B482998F}"/>
          </ac:picMkLst>
        </pc:picChg>
        <pc:picChg chg="add del mod">
          <ac:chgData name="Martin Filzmair" userId="9f2635aa-98bd-488f-8ebc-52634097194c" providerId="ADAL" clId="{A591FB47-B660-4782-B8F7-B4F4886E45BC}" dt="2020-04-16T12:39:16.856" v="1805" actId="478"/>
          <ac:picMkLst>
            <pc:docMk/>
            <pc:sldMk cId="109985368" sldId="3536"/>
            <ac:picMk id="20" creationId="{F9039EBB-D960-4F47-8EA2-2BCCEBB5AB22}"/>
          </ac:picMkLst>
        </pc:picChg>
      </pc:sldChg>
      <pc:sldChg chg="del">
        <pc:chgData name="Martin Filzmair" userId="9f2635aa-98bd-488f-8ebc-52634097194c" providerId="ADAL" clId="{A591FB47-B660-4782-B8F7-B4F4886E45BC}" dt="2020-04-15T14:17:15.759" v="65" actId="2696"/>
        <pc:sldMkLst>
          <pc:docMk/>
          <pc:sldMk cId="1527059802" sldId="3536"/>
        </pc:sldMkLst>
      </pc:sldChg>
      <pc:sldChg chg="addSp delSp modSp add">
        <pc:chgData name="Martin Filzmair" userId="9f2635aa-98bd-488f-8ebc-52634097194c" providerId="ADAL" clId="{A591FB47-B660-4782-B8F7-B4F4886E45BC}" dt="2020-04-16T12:30:15.939" v="1804" actId="20577"/>
        <pc:sldMkLst>
          <pc:docMk/>
          <pc:sldMk cId="1239150968" sldId="3537"/>
        </pc:sldMkLst>
        <pc:spChg chg="del">
          <ac:chgData name="Martin Filzmair" userId="9f2635aa-98bd-488f-8ebc-52634097194c" providerId="ADAL" clId="{A591FB47-B660-4782-B8F7-B4F4886E45BC}" dt="2020-04-15T14:56:16.777" v="667"/>
          <ac:spMkLst>
            <pc:docMk/>
            <pc:sldMk cId="1239150968" sldId="3537"/>
            <ac:spMk id="2" creationId="{6A37D0DE-03C3-469D-9724-754348FA16A1}"/>
          </ac:spMkLst>
        </pc:spChg>
        <pc:spChg chg="del">
          <ac:chgData name="Martin Filzmair" userId="9f2635aa-98bd-488f-8ebc-52634097194c" providerId="ADAL" clId="{A591FB47-B660-4782-B8F7-B4F4886E45BC}" dt="2020-04-15T14:56:16.777" v="667"/>
          <ac:spMkLst>
            <pc:docMk/>
            <pc:sldMk cId="1239150968" sldId="3537"/>
            <ac:spMk id="3" creationId="{DF87AEA8-59C6-4DA8-B53D-564BCE118E6C}"/>
          </ac:spMkLst>
        </pc:spChg>
        <pc:spChg chg="del">
          <ac:chgData name="Martin Filzmair" userId="9f2635aa-98bd-488f-8ebc-52634097194c" providerId="ADAL" clId="{A591FB47-B660-4782-B8F7-B4F4886E45BC}" dt="2020-04-15T14:56:16.777" v="667"/>
          <ac:spMkLst>
            <pc:docMk/>
            <pc:sldMk cId="1239150968" sldId="3537"/>
            <ac:spMk id="4" creationId="{DA8F605B-E58D-4B93-B024-A2B222E117A4}"/>
          </ac:spMkLst>
        </pc:spChg>
        <pc:spChg chg="del">
          <ac:chgData name="Martin Filzmair" userId="9f2635aa-98bd-488f-8ebc-52634097194c" providerId="ADAL" clId="{A591FB47-B660-4782-B8F7-B4F4886E45BC}" dt="2020-04-15T14:56:16.777" v="667"/>
          <ac:spMkLst>
            <pc:docMk/>
            <pc:sldMk cId="1239150968" sldId="3537"/>
            <ac:spMk id="5" creationId="{9D0CE66C-1333-4A4B-8CDC-2FE214044021}"/>
          </ac:spMkLst>
        </pc:spChg>
        <pc:spChg chg="del">
          <ac:chgData name="Martin Filzmair" userId="9f2635aa-98bd-488f-8ebc-52634097194c" providerId="ADAL" clId="{A591FB47-B660-4782-B8F7-B4F4886E45BC}" dt="2020-04-15T14:56:16.777" v="667"/>
          <ac:spMkLst>
            <pc:docMk/>
            <pc:sldMk cId="1239150968" sldId="3537"/>
            <ac:spMk id="6" creationId="{7323107E-DB08-4995-B319-D042782AADB8}"/>
          </ac:spMkLst>
        </pc:spChg>
        <pc:spChg chg="del">
          <ac:chgData name="Martin Filzmair" userId="9f2635aa-98bd-488f-8ebc-52634097194c" providerId="ADAL" clId="{A591FB47-B660-4782-B8F7-B4F4886E45BC}" dt="2020-04-15T14:56:16.777" v="667"/>
          <ac:spMkLst>
            <pc:docMk/>
            <pc:sldMk cId="1239150968" sldId="3537"/>
            <ac:spMk id="7" creationId="{31BE86C5-9FF3-49B2-B374-BE48CDB52F31}"/>
          </ac:spMkLst>
        </pc:spChg>
        <pc:spChg chg="del">
          <ac:chgData name="Martin Filzmair" userId="9f2635aa-98bd-488f-8ebc-52634097194c" providerId="ADAL" clId="{A591FB47-B660-4782-B8F7-B4F4886E45BC}" dt="2020-04-15T14:56:16.777" v="667"/>
          <ac:spMkLst>
            <pc:docMk/>
            <pc:sldMk cId="1239150968" sldId="3537"/>
            <ac:spMk id="8" creationId="{9E91EC1B-2E3C-44CD-864D-D3BD07C2C603}"/>
          </ac:spMkLst>
        </pc:spChg>
        <pc:spChg chg="add del mod">
          <ac:chgData name="Martin Filzmair" userId="9f2635aa-98bd-488f-8ebc-52634097194c" providerId="ADAL" clId="{A591FB47-B660-4782-B8F7-B4F4886E45BC}" dt="2020-04-15T15:01:49.705" v="830" actId="478"/>
          <ac:spMkLst>
            <pc:docMk/>
            <pc:sldMk cId="1239150968" sldId="3537"/>
            <ac:spMk id="10" creationId="{8FDC4AD2-2222-43D7-952C-8AC1CB2F3B77}"/>
          </ac:spMkLst>
        </pc:spChg>
        <pc:spChg chg="add del mod">
          <ac:chgData name="Martin Filzmair" userId="9f2635aa-98bd-488f-8ebc-52634097194c" providerId="ADAL" clId="{A591FB47-B660-4782-B8F7-B4F4886E45BC}" dt="2020-04-15T15:01:51.134" v="831" actId="478"/>
          <ac:spMkLst>
            <pc:docMk/>
            <pc:sldMk cId="1239150968" sldId="3537"/>
            <ac:spMk id="11" creationId="{07716F65-C1BF-4572-9D9C-D32E55D68EA0}"/>
          </ac:spMkLst>
        </pc:spChg>
        <pc:spChg chg="add mod">
          <ac:chgData name="Martin Filzmair" userId="9f2635aa-98bd-488f-8ebc-52634097194c" providerId="ADAL" clId="{A591FB47-B660-4782-B8F7-B4F4886E45BC}" dt="2020-04-16T12:30:15.939" v="1804" actId="20577"/>
          <ac:spMkLst>
            <pc:docMk/>
            <pc:sldMk cId="1239150968" sldId="3537"/>
            <ac:spMk id="13" creationId="{7D0AF6F0-AA11-4103-B7D5-FD35B162B6DB}"/>
          </ac:spMkLst>
        </pc:spChg>
        <pc:spChg chg="add mod">
          <ac:chgData name="Martin Filzmair" userId="9f2635aa-98bd-488f-8ebc-52634097194c" providerId="ADAL" clId="{A591FB47-B660-4782-B8F7-B4F4886E45BC}" dt="2020-04-15T15:02:27.757" v="847" actId="20577"/>
          <ac:spMkLst>
            <pc:docMk/>
            <pc:sldMk cId="1239150968" sldId="3537"/>
            <ac:spMk id="14" creationId="{F93F0713-19B2-45E9-97F7-4C470DD07A98}"/>
          </ac:spMkLst>
        </pc:spChg>
        <pc:spChg chg="add ord">
          <ac:chgData name="Martin Filzmair" userId="9f2635aa-98bd-488f-8ebc-52634097194c" providerId="ADAL" clId="{A591FB47-B660-4782-B8F7-B4F4886E45BC}" dt="2020-04-16T12:28:14.894" v="1802" actId="166"/>
          <ac:spMkLst>
            <pc:docMk/>
            <pc:sldMk cId="1239150968" sldId="3537"/>
            <ac:spMk id="15" creationId="{EAB5C74A-E191-47EC-A8E4-8816F5586EBA}"/>
          </ac:spMkLst>
        </pc:spChg>
        <pc:picChg chg="add mod">
          <ac:chgData name="Martin Filzmair" userId="9f2635aa-98bd-488f-8ebc-52634097194c" providerId="ADAL" clId="{A591FB47-B660-4782-B8F7-B4F4886E45BC}" dt="2020-04-16T12:28:20.648" v="1803" actId="1076"/>
          <ac:picMkLst>
            <pc:docMk/>
            <pc:sldMk cId="1239150968" sldId="3537"/>
            <ac:picMk id="2" creationId="{2C4A7824-0219-49D8-B785-2B323E2975A5}"/>
          </ac:picMkLst>
        </pc:picChg>
        <pc:picChg chg="add del mod">
          <ac:chgData name="Martin Filzmair" userId="9f2635aa-98bd-488f-8ebc-52634097194c" providerId="ADAL" clId="{A591FB47-B660-4782-B8F7-B4F4886E45BC}" dt="2020-04-16T12:28:01.892" v="1800" actId="478"/>
          <ac:picMkLst>
            <pc:docMk/>
            <pc:sldMk cId="1239150968" sldId="3537"/>
            <ac:picMk id="12" creationId="{45568EB2-B428-4135-B46D-5B5FD0374702}"/>
          </ac:picMkLst>
        </pc:picChg>
      </pc:sldChg>
      <pc:sldChg chg="addSp delSp modSp add">
        <pc:chgData name="Martin Filzmair" userId="9f2635aa-98bd-488f-8ebc-52634097194c" providerId="ADAL" clId="{A591FB47-B660-4782-B8F7-B4F4886E45BC}" dt="2020-04-15T15:59:06.482" v="1568"/>
        <pc:sldMkLst>
          <pc:docMk/>
          <pc:sldMk cId="3433864518" sldId="3538"/>
        </pc:sldMkLst>
        <pc:spChg chg="mod">
          <ac:chgData name="Martin Filzmair" userId="9f2635aa-98bd-488f-8ebc-52634097194c" providerId="ADAL" clId="{A591FB47-B660-4782-B8F7-B4F4886E45BC}" dt="2020-04-15T15:08:52.833" v="861" actId="20577"/>
          <ac:spMkLst>
            <pc:docMk/>
            <pc:sldMk cId="3433864518" sldId="3538"/>
            <ac:spMk id="2" creationId="{A76B0AE1-B8CF-40A3-9364-698C6EFC39F0}"/>
          </ac:spMkLst>
        </pc:spChg>
        <pc:spChg chg="mod">
          <ac:chgData name="Martin Filzmair" userId="9f2635aa-98bd-488f-8ebc-52634097194c" providerId="ADAL" clId="{A591FB47-B660-4782-B8F7-B4F4886E45BC}" dt="2020-04-15T15:57:41.154" v="1555" actId="255"/>
          <ac:spMkLst>
            <pc:docMk/>
            <pc:sldMk cId="3433864518" sldId="3538"/>
            <ac:spMk id="3" creationId="{65985017-BCA0-4AFE-AAFB-EC6F64DEC424}"/>
          </ac:spMkLst>
        </pc:spChg>
        <pc:spChg chg="del">
          <ac:chgData name="Martin Filzmair" userId="9f2635aa-98bd-488f-8ebc-52634097194c" providerId="ADAL" clId="{A591FB47-B660-4782-B8F7-B4F4886E45BC}" dt="2020-04-15T15:09:37.559" v="897" actId="478"/>
          <ac:spMkLst>
            <pc:docMk/>
            <pc:sldMk cId="3433864518" sldId="3538"/>
            <ac:spMk id="4" creationId="{8BC78BBC-9967-4C87-BFB7-978C6B048491}"/>
          </ac:spMkLst>
        </pc:spChg>
        <pc:spChg chg="add">
          <ac:chgData name="Martin Filzmair" userId="9f2635aa-98bd-488f-8ebc-52634097194c" providerId="ADAL" clId="{A591FB47-B660-4782-B8F7-B4F4886E45BC}" dt="2020-04-15T15:59:06.482" v="1568"/>
          <ac:spMkLst>
            <pc:docMk/>
            <pc:sldMk cId="3433864518" sldId="3538"/>
            <ac:spMk id="7" creationId="{9291EDAD-CBFD-4A5E-8557-42AEC4BC54A7}"/>
          </ac:spMkLst>
        </pc:spChg>
        <pc:graphicFrameChg chg="add del">
          <ac:chgData name="Martin Filzmair" userId="9f2635aa-98bd-488f-8ebc-52634097194c" providerId="ADAL" clId="{A591FB47-B660-4782-B8F7-B4F4886E45BC}" dt="2020-04-15T15:12:16.364" v="899"/>
          <ac:graphicFrameMkLst>
            <pc:docMk/>
            <pc:sldMk cId="3433864518" sldId="3538"/>
            <ac:graphicFrameMk id="5" creationId="{F9C9F27F-C1B3-4D4B-94CC-32D32FB486EE}"/>
          </ac:graphicFrameMkLst>
        </pc:graphicFrameChg>
        <pc:graphicFrameChg chg="add mod">
          <ac:chgData name="Martin Filzmair" userId="9f2635aa-98bd-488f-8ebc-52634097194c" providerId="ADAL" clId="{A591FB47-B660-4782-B8F7-B4F4886E45BC}" dt="2020-04-15T15:12:38.956" v="903" actId="14100"/>
          <ac:graphicFrameMkLst>
            <pc:docMk/>
            <pc:sldMk cId="3433864518" sldId="3538"/>
            <ac:graphicFrameMk id="6" creationId="{D62463B9-4F2C-463F-8063-E417D7D7E763}"/>
          </ac:graphicFrameMkLst>
        </pc:graphicFrameChg>
      </pc:sldChg>
      <pc:sldChg chg="addSp delSp modSp add">
        <pc:chgData name="Martin Filzmair" userId="9f2635aa-98bd-488f-8ebc-52634097194c" providerId="ADAL" clId="{A591FB47-B660-4782-B8F7-B4F4886E45BC}" dt="2020-04-15T15:59:09.150" v="1569"/>
        <pc:sldMkLst>
          <pc:docMk/>
          <pc:sldMk cId="253843031" sldId="3539"/>
        </pc:sldMkLst>
        <pc:spChg chg="mod">
          <ac:chgData name="Martin Filzmair" userId="9f2635aa-98bd-488f-8ebc-52634097194c" providerId="ADAL" clId="{A591FB47-B660-4782-B8F7-B4F4886E45BC}" dt="2020-04-15T15:23:19.579" v="974" actId="20577"/>
          <ac:spMkLst>
            <pc:docMk/>
            <pc:sldMk cId="253843031" sldId="3539"/>
            <ac:spMk id="2" creationId="{D55DF656-791D-45A9-8276-9B6AB008E12C}"/>
          </ac:spMkLst>
        </pc:spChg>
        <pc:spChg chg="mod">
          <ac:chgData name="Martin Filzmair" userId="9f2635aa-98bd-488f-8ebc-52634097194c" providerId="ADAL" clId="{A591FB47-B660-4782-B8F7-B4F4886E45BC}" dt="2020-04-15T15:55:09.591" v="1517" actId="20577"/>
          <ac:spMkLst>
            <pc:docMk/>
            <pc:sldMk cId="253843031" sldId="3539"/>
            <ac:spMk id="3" creationId="{C75E7688-C2E4-431B-A935-F7DB3AC80546}"/>
          </ac:spMkLst>
        </pc:spChg>
        <pc:spChg chg="del">
          <ac:chgData name="Martin Filzmair" userId="9f2635aa-98bd-488f-8ebc-52634097194c" providerId="ADAL" clId="{A591FB47-B660-4782-B8F7-B4F4886E45BC}" dt="2020-04-15T15:37:58.039" v="1054" actId="478"/>
          <ac:spMkLst>
            <pc:docMk/>
            <pc:sldMk cId="253843031" sldId="3539"/>
            <ac:spMk id="4" creationId="{52FCC561-EAA4-4AC3-A427-00B76C5833EE}"/>
          </ac:spMkLst>
        </pc:spChg>
        <pc:spChg chg="add">
          <ac:chgData name="Martin Filzmair" userId="9f2635aa-98bd-488f-8ebc-52634097194c" providerId="ADAL" clId="{A591FB47-B660-4782-B8F7-B4F4886E45BC}" dt="2020-04-15T15:59:09.150" v="1569"/>
          <ac:spMkLst>
            <pc:docMk/>
            <pc:sldMk cId="253843031" sldId="3539"/>
            <ac:spMk id="5" creationId="{3C581D3A-CFCF-42EB-95B3-5A56528C4EE0}"/>
          </ac:spMkLst>
        </pc:spChg>
      </pc:sldChg>
      <pc:sldChg chg="addSp modSp add del">
        <pc:chgData name="Martin Filzmair" userId="9f2635aa-98bd-488f-8ebc-52634097194c" providerId="ADAL" clId="{A591FB47-B660-4782-B8F7-B4F4886E45BC}" dt="2020-04-15T15:22:04.905" v="922" actId="2696"/>
        <pc:sldMkLst>
          <pc:docMk/>
          <pc:sldMk cId="1375546209" sldId="3539"/>
        </pc:sldMkLst>
        <pc:grpChg chg="add mod">
          <ac:chgData name="Martin Filzmair" userId="9f2635aa-98bd-488f-8ebc-52634097194c" providerId="ADAL" clId="{A591FB47-B660-4782-B8F7-B4F4886E45BC}" dt="2020-04-15T15:21:05.056" v="919" actId="164"/>
          <ac:grpSpMkLst>
            <pc:docMk/>
            <pc:sldMk cId="1375546209" sldId="3539"/>
            <ac:grpSpMk id="8" creationId="{299B5580-95AC-4B22-8DF2-8203317E6F1F}"/>
          </ac:grpSpMkLst>
        </pc:grpChg>
        <pc:picChg chg="add mod modCrop">
          <ac:chgData name="Martin Filzmair" userId="9f2635aa-98bd-488f-8ebc-52634097194c" providerId="ADAL" clId="{A591FB47-B660-4782-B8F7-B4F4886E45BC}" dt="2020-04-15T15:21:05.056" v="919" actId="164"/>
          <ac:picMkLst>
            <pc:docMk/>
            <pc:sldMk cId="1375546209" sldId="3539"/>
            <ac:picMk id="6" creationId="{6D18A82B-DC47-466A-B65E-524455F18CD9}"/>
          </ac:picMkLst>
        </pc:picChg>
        <pc:picChg chg="add mod modCrop">
          <ac:chgData name="Martin Filzmair" userId="9f2635aa-98bd-488f-8ebc-52634097194c" providerId="ADAL" clId="{A591FB47-B660-4782-B8F7-B4F4886E45BC}" dt="2020-04-15T15:21:05.056" v="919" actId="164"/>
          <ac:picMkLst>
            <pc:docMk/>
            <pc:sldMk cId="1375546209" sldId="3539"/>
            <ac:picMk id="7" creationId="{8DE8B906-645E-41DD-9B6B-0FB8B6F72E09}"/>
          </ac:picMkLst>
        </pc:picChg>
      </pc:sldChg>
      <pc:sldChg chg="addSp delSp modSp add ord">
        <pc:chgData name="Martin Filzmair" userId="9f2635aa-98bd-488f-8ebc-52634097194c" providerId="ADAL" clId="{A591FB47-B660-4782-B8F7-B4F4886E45BC}" dt="2020-04-16T14:05:35.237" v="2048" actId="20577"/>
        <pc:sldMkLst>
          <pc:docMk/>
          <pc:sldMk cId="475229487" sldId="3540"/>
        </pc:sldMkLst>
        <pc:spChg chg="del">
          <ac:chgData name="Martin Filzmair" userId="9f2635aa-98bd-488f-8ebc-52634097194c" providerId="ADAL" clId="{A591FB47-B660-4782-B8F7-B4F4886E45BC}" dt="2020-04-15T15:40:07.266" v="1090"/>
          <ac:spMkLst>
            <pc:docMk/>
            <pc:sldMk cId="475229487" sldId="3540"/>
            <ac:spMk id="2" creationId="{483A19FD-8022-4E84-B6AC-FFFC0BABE2D3}"/>
          </ac:spMkLst>
        </pc:spChg>
        <pc:spChg chg="del">
          <ac:chgData name="Martin Filzmair" userId="9f2635aa-98bd-488f-8ebc-52634097194c" providerId="ADAL" clId="{A591FB47-B660-4782-B8F7-B4F4886E45BC}" dt="2020-04-15T15:40:07.266" v="1090"/>
          <ac:spMkLst>
            <pc:docMk/>
            <pc:sldMk cId="475229487" sldId="3540"/>
            <ac:spMk id="3" creationId="{CF61C82A-947C-4A1B-9E35-3A958668F8EA}"/>
          </ac:spMkLst>
        </pc:spChg>
        <pc:spChg chg="del">
          <ac:chgData name="Martin Filzmair" userId="9f2635aa-98bd-488f-8ebc-52634097194c" providerId="ADAL" clId="{A591FB47-B660-4782-B8F7-B4F4886E45BC}" dt="2020-04-15T15:40:07.266" v="1090"/>
          <ac:spMkLst>
            <pc:docMk/>
            <pc:sldMk cId="475229487" sldId="3540"/>
            <ac:spMk id="4" creationId="{4A4A5302-9279-4044-8749-14BA093AF82F}"/>
          </ac:spMkLst>
        </pc:spChg>
        <pc:spChg chg="del">
          <ac:chgData name="Martin Filzmair" userId="9f2635aa-98bd-488f-8ebc-52634097194c" providerId="ADAL" clId="{A591FB47-B660-4782-B8F7-B4F4886E45BC}" dt="2020-04-15T15:40:07.266" v="1090"/>
          <ac:spMkLst>
            <pc:docMk/>
            <pc:sldMk cId="475229487" sldId="3540"/>
            <ac:spMk id="5" creationId="{1E47FEB5-5E52-4D84-A71D-A734FFD2EAB5}"/>
          </ac:spMkLst>
        </pc:spChg>
        <pc:spChg chg="del">
          <ac:chgData name="Martin Filzmair" userId="9f2635aa-98bd-488f-8ebc-52634097194c" providerId="ADAL" clId="{A591FB47-B660-4782-B8F7-B4F4886E45BC}" dt="2020-04-15T15:40:07.266" v="1090"/>
          <ac:spMkLst>
            <pc:docMk/>
            <pc:sldMk cId="475229487" sldId="3540"/>
            <ac:spMk id="6" creationId="{7CB48571-2E61-456F-8E6F-C31DDC3F1777}"/>
          </ac:spMkLst>
        </pc:spChg>
        <pc:spChg chg="del">
          <ac:chgData name="Martin Filzmair" userId="9f2635aa-98bd-488f-8ebc-52634097194c" providerId="ADAL" clId="{A591FB47-B660-4782-B8F7-B4F4886E45BC}" dt="2020-04-15T15:40:07.266" v="1090"/>
          <ac:spMkLst>
            <pc:docMk/>
            <pc:sldMk cId="475229487" sldId="3540"/>
            <ac:spMk id="7" creationId="{E3974015-4019-46EE-B539-8B499DFCF06C}"/>
          </ac:spMkLst>
        </pc:spChg>
        <pc:spChg chg="del">
          <ac:chgData name="Martin Filzmair" userId="9f2635aa-98bd-488f-8ebc-52634097194c" providerId="ADAL" clId="{A591FB47-B660-4782-B8F7-B4F4886E45BC}" dt="2020-04-15T15:40:07.266" v="1090"/>
          <ac:spMkLst>
            <pc:docMk/>
            <pc:sldMk cId="475229487" sldId="3540"/>
            <ac:spMk id="8" creationId="{F355E236-AC8F-4EB4-BBE7-9A8C17470382}"/>
          </ac:spMkLst>
        </pc:spChg>
        <pc:spChg chg="del">
          <ac:chgData name="Martin Filzmair" userId="9f2635aa-98bd-488f-8ebc-52634097194c" providerId="ADAL" clId="{A591FB47-B660-4782-B8F7-B4F4886E45BC}" dt="2020-04-15T15:40:21.987" v="1103" actId="478"/>
          <ac:spMkLst>
            <pc:docMk/>
            <pc:sldMk cId="475229487" sldId="3540"/>
            <ac:spMk id="9" creationId="{E27FE9A8-C6AD-4B15-A3EB-FF8937CC539B}"/>
          </ac:spMkLst>
        </pc:spChg>
        <pc:spChg chg="add mod">
          <ac:chgData name="Martin Filzmair" userId="9f2635aa-98bd-488f-8ebc-52634097194c" providerId="ADAL" clId="{A591FB47-B660-4782-B8F7-B4F4886E45BC}" dt="2020-04-15T15:51:11.686" v="1314" actId="313"/>
          <ac:spMkLst>
            <pc:docMk/>
            <pc:sldMk cId="475229487" sldId="3540"/>
            <ac:spMk id="10" creationId="{0C8C56E4-6EB2-4A6E-BE12-91DA0B591B23}"/>
          </ac:spMkLst>
        </pc:spChg>
        <pc:spChg chg="add mod">
          <ac:chgData name="Martin Filzmair" userId="9f2635aa-98bd-488f-8ebc-52634097194c" providerId="ADAL" clId="{A591FB47-B660-4782-B8F7-B4F4886E45BC}" dt="2020-04-16T10:03:47.906" v="1759" actId="164"/>
          <ac:spMkLst>
            <pc:docMk/>
            <pc:sldMk cId="475229487" sldId="3540"/>
            <ac:spMk id="11" creationId="{A4B62F02-301B-49C4-AC9D-27CF84744D4F}"/>
          </ac:spMkLst>
        </pc:spChg>
        <pc:spChg chg="add del mod">
          <ac:chgData name="Martin Filzmair" userId="9f2635aa-98bd-488f-8ebc-52634097194c" providerId="ADAL" clId="{A591FB47-B660-4782-B8F7-B4F4886E45BC}" dt="2020-04-15T15:40:09.218" v="1091" actId="478"/>
          <ac:spMkLst>
            <pc:docMk/>
            <pc:sldMk cId="475229487" sldId="3540"/>
            <ac:spMk id="11" creationId="{CA74B85C-CCFC-481C-BEC6-56BC0E19EE78}"/>
          </ac:spMkLst>
        </pc:spChg>
        <pc:spChg chg="add">
          <ac:chgData name="Martin Filzmair" userId="9f2635aa-98bd-488f-8ebc-52634097194c" providerId="ADAL" clId="{A591FB47-B660-4782-B8F7-B4F4886E45BC}" dt="2020-04-15T15:41:11.444" v="1104"/>
          <ac:spMkLst>
            <pc:docMk/>
            <pc:sldMk cId="475229487" sldId="3540"/>
            <ac:spMk id="16" creationId="{7E3FDFB9-74D8-4C8B-A059-02B67E979C14}"/>
          </ac:spMkLst>
        </pc:spChg>
        <pc:spChg chg="add del mod">
          <ac:chgData name="Martin Filzmair" userId="9f2635aa-98bd-488f-8ebc-52634097194c" providerId="ADAL" clId="{A591FB47-B660-4782-B8F7-B4F4886E45BC}" dt="2020-04-15T15:41:34.512" v="1110" actId="478"/>
          <ac:spMkLst>
            <pc:docMk/>
            <pc:sldMk cId="475229487" sldId="3540"/>
            <ac:spMk id="21" creationId="{FD90669D-506D-4AEA-B9A0-C00107A3E333}"/>
          </ac:spMkLst>
        </pc:spChg>
        <pc:spChg chg="add mod">
          <ac:chgData name="Martin Filzmair" userId="9f2635aa-98bd-488f-8ebc-52634097194c" providerId="ADAL" clId="{A591FB47-B660-4782-B8F7-B4F4886E45BC}" dt="2020-04-15T15:51:03.369" v="1313" actId="1035"/>
          <ac:spMkLst>
            <pc:docMk/>
            <pc:sldMk cId="475229487" sldId="3540"/>
            <ac:spMk id="22" creationId="{5804852D-6D79-4C7E-AC51-B72506E738B1}"/>
          </ac:spMkLst>
        </pc:spChg>
        <pc:spChg chg="add mod">
          <ac:chgData name="Martin Filzmair" userId="9f2635aa-98bd-488f-8ebc-52634097194c" providerId="ADAL" clId="{A591FB47-B660-4782-B8F7-B4F4886E45BC}" dt="2020-04-16T10:36:57.388" v="1791" actId="1035"/>
          <ac:spMkLst>
            <pc:docMk/>
            <pc:sldMk cId="475229487" sldId="3540"/>
            <ac:spMk id="23" creationId="{021053BD-B4F6-4D8C-BF23-21480AB2F071}"/>
          </ac:spMkLst>
        </pc:spChg>
        <pc:spChg chg="add mod">
          <ac:chgData name="Martin Filzmair" userId="9f2635aa-98bd-488f-8ebc-52634097194c" providerId="ADAL" clId="{A591FB47-B660-4782-B8F7-B4F4886E45BC}" dt="2020-04-16T09:03:17.387" v="1719" actId="1038"/>
          <ac:spMkLst>
            <pc:docMk/>
            <pc:sldMk cId="475229487" sldId="3540"/>
            <ac:spMk id="24" creationId="{D76DF2BA-3724-41F3-9392-231A6EFDF1EC}"/>
          </ac:spMkLst>
        </pc:spChg>
        <pc:spChg chg="add mod">
          <ac:chgData name="Martin Filzmair" userId="9f2635aa-98bd-488f-8ebc-52634097194c" providerId="ADAL" clId="{A591FB47-B660-4782-B8F7-B4F4886E45BC}" dt="2020-04-16T09:02:06.108" v="1695" actId="1076"/>
          <ac:spMkLst>
            <pc:docMk/>
            <pc:sldMk cId="475229487" sldId="3540"/>
            <ac:spMk id="25" creationId="{CF9C43F9-3E61-49F5-B8F0-3516E8FA424E}"/>
          </ac:spMkLst>
        </pc:spChg>
        <pc:spChg chg="add mod">
          <ac:chgData name="Martin Filzmair" userId="9f2635aa-98bd-488f-8ebc-52634097194c" providerId="ADAL" clId="{A591FB47-B660-4782-B8F7-B4F4886E45BC}" dt="2020-04-16T10:35:33.025" v="1763" actId="1037"/>
          <ac:spMkLst>
            <pc:docMk/>
            <pc:sldMk cId="475229487" sldId="3540"/>
            <ac:spMk id="27" creationId="{D5876BDB-4F53-418F-872C-71F71A10A82B}"/>
          </ac:spMkLst>
        </pc:spChg>
        <pc:spChg chg="add mod">
          <ac:chgData name="Martin Filzmair" userId="9f2635aa-98bd-488f-8ebc-52634097194c" providerId="ADAL" clId="{A591FB47-B660-4782-B8F7-B4F4886E45BC}" dt="2020-04-16T10:36:25.252" v="1786" actId="1038"/>
          <ac:spMkLst>
            <pc:docMk/>
            <pc:sldMk cId="475229487" sldId="3540"/>
            <ac:spMk id="29" creationId="{FB6A155E-1BA9-4E72-AFFD-B719A0A1CE1C}"/>
          </ac:spMkLst>
        </pc:spChg>
        <pc:spChg chg="add mod">
          <ac:chgData name="Martin Filzmair" userId="9f2635aa-98bd-488f-8ebc-52634097194c" providerId="ADAL" clId="{A591FB47-B660-4782-B8F7-B4F4886E45BC}" dt="2020-04-16T14:05:35.237" v="2048" actId="20577"/>
          <ac:spMkLst>
            <pc:docMk/>
            <pc:sldMk cId="475229487" sldId="3540"/>
            <ac:spMk id="30" creationId="{A05A7258-0166-4C5A-8A52-12C46AA81068}"/>
          </ac:spMkLst>
        </pc:spChg>
        <pc:spChg chg="add mod">
          <ac:chgData name="Martin Filzmair" userId="9f2635aa-98bd-488f-8ebc-52634097194c" providerId="ADAL" clId="{A591FB47-B660-4782-B8F7-B4F4886E45BC}" dt="2020-04-16T14:05:30.555" v="2047" actId="20577"/>
          <ac:spMkLst>
            <pc:docMk/>
            <pc:sldMk cId="475229487" sldId="3540"/>
            <ac:spMk id="31" creationId="{757D6726-815B-42C4-ACD6-C3B50DA43C6F}"/>
          </ac:spMkLst>
        </pc:spChg>
        <pc:spChg chg="add del mod">
          <ac:chgData name="Martin Filzmair" userId="9f2635aa-98bd-488f-8ebc-52634097194c" providerId="ADAL" clId="{A591FB47-B660-4782-B8F7-B4F4886E45BC}" dt="2020-04-16T07:56:14.751" v="1577" actId="478"/>
          <ac:spMkLst>
            <pc:docMk/>
            <pc:sldMk cId="475229487" sldId="3540"/>
            <ac:spMk id="32" creationId="{7EAF0825-614B-48D1-9538-B05F8E1E8D9C}"/>
          </ac:spMkLst>
        </pc:spChg>
        <pc:spChg chg="add del mod">
          <ac:chgData name="Martin Filzmair" userId="9f2635aa-98bd-488f-8ebc-52634097194c" providerId="ADAL" clId="{A591FB47-B660-4782-B8F7-B4F4886E45BC}" dt="2020-04-16T07:55:50.666" v="1574" actId="478"/>
          <ac:spMkLst>
            <pc:docMk/>
            <pc:sldMk cId="475229487" sldId="3540"/>
            <ac:spMk id="33" creationId="{EAE51B5B-807C-4F2D-A337-C8E095692ECA}"/>
          </ac:spMkLst>
        </pc:spChg>
        <pc:spChg chg="add del mod">
          <ac:chgData name="Martin Filzmair" userId="9f2635aa-98bd-488f-8ebc-52634097194c" providerId="ADAL" clId="{A591FB47-B660-4782-B8F7-B4F4886E45BC}" dt="2020-04-16T08:59:34.551" v="1607" actId="478"/>
          <ac:spMkLst>
            <pc:docMk/>
            <pc:sldMk cId="475229487" sldId="3540"/>
            <ac:spMk id="34" creationId="{FCE929FD-7F13-468E-9BB6-0F548D4B8D7E}"/>
          </ac:spMkLst>
        </pc:spChg>
        <pc:spChg chg="add">
          <ac:chgData name="Martin Filzmair" userId="9f2635aa-98bd-488f-8ebc-52634097194c" providerId="ADAL" clId="{A591FB47-B660-4782-B8F7-B4F4886E45BC}" dt="2020-04-15T15:59:00.727" v="1567"/>
          <ac:spMkLst>
            <pc:docMk/>
            <pc:sldMk cId="475229487" sldId="3540"/>
            <ac:spMk id="36" creationId="{484BE925-0438-41C3-8286-9036E3F0BB1D}"/>
          </ac:spMkLst>
        </pc:spChg>
        <pc:spChg chg="add mod">
          <ac:chgData name="Martin Filzmair" userId="9f2635aa-98bd-488f-8ebc-52634097194c" providerId="ADAL" clId="{A591FB47-B660-4782-B8F7-B4F4886E45BC}" dt="2020-04-16T10:36:33.142" v="1790" actId="1037"/>
          <ac:spMkLst>
            <pc:docMk/>
            <pc:sldMk cId="475229487" sldId="3540"/>
            <ac:spMk id="38" creationId="{337DA37D-A85F-4A40-AA9C-8CEC07812C56}"/>
          </ac:spMkLst>
        </pc:spChg>
        <pc:grpChg chg="add mod">
          <ac:chgData name="Martin Filzmair" userId="9f2635aa-98bd-488f-8ebc-52634097194c" providerId="ADAL" clId="{A591FB47-B660-4782-B8F7-B4F4886E45BC}" dt="2020-04-16T10:37:00.757" v="1794" actId="1035"/>
          <ac:grpSpMkLst>
            <pc:docMk/>
            <pc:sldMk cId="475229487" sldId="3540"/>
            <ac:grpSpMk id="12" creationId="{68D0C16E-DF80-4BA1-AC75-F18473AD9928}"/>
          </ac:grpSpMkLst>
        </pc:grpChg>
        <pc:picChg chg="add mod modCrop">
          <ac:chgData name="Martin Filzmair" userId="9f2635aa-98bd-488f-8ebc-52634097194c" providerId="ADAL" clId="{A591FB47-B660-4782-B8F7-B4F4886E45BC}" dt="2020-04-16T13:43:41.878" v="1896" actId="14100"/>
          <ac:picMkLst>
            <pc:docMk/>
            <pc:sldMk cId="475229487" sldId="3540"/>
            <ac:picMk id="2" creationId="{48D62F98-B917-4627-B458-4F583FDF0771}"/>
          </ac:picMkLst>
        </pc:picChg>
        <pc:picChg chg="add mod">
          <ac:chgData name="Martin Filzmair" userId="9f2635aa-98bd-488f-8ebc-52634097194c" providerId="ADAL" clId="{A591FB47-B660-4782-B8F7-B4F4886E45BC}" dt="2020-04-16T13:43:44.763" v="1897" actId="14100"/>
          <ac:picMkLst>
            <pc:docMk/>
            <pc:sldMk cId="475229487" sldId="3540"/>
            <ac:picMk id="3" creationId="{1EA50EDF-B53E-49EE-9207-022CED3B7AB9}"/>
          </ac:picMkLst>
        </pc:picChg>
        <pc:picChg chg="add mod ord">
          <ac:chgData name="Martin Filzmair" userId="9f2635aa-98bd-488f-8ebc-52634097194c" providerId="ADAL" clId="{A591FB47-B660-4782-B8F7-B4F4886E45BC}" dt="2020-04-16T09:07:05.711" v="1751" actId="1035"/>
          <ac:picMkLst>
            <pc:docMk/>
            <pc:sldMk cId="475229487" sldId="3540"/>
            <ac:picMk id="4" creationId="{FF1DDC62-401E-4A69-854E-53E9AB6560DA}"/>
          </ac:picMkLst>
        </pc:picChg>
        <pc:picChg chg="add mod">
          <ac:chgData name="Martin Filzmair" userId="9f2635aa-98bd-488f-8ebc-52634097194c" providerId="ADAL" clId="{A591FB47-B660-4782-B8F7-B4F4886E45BC}" dt="2020-04-16T09:03:24.987" v="1721" actId="1038"/>
          <ac:picMkLst>
            <pc:docMk/>
            <pc:sldMk cId="475229487" sldId="3540"/>
            <ac:picMk id="5" creationId="{7CE1FFA3-5596-49B7-A9A6-F71EF697149B}"/>
          </ac:picMkLst>
        </pc:picChg>
        <pc:picChg chg="add mod">
          <ac:chgData name="Martin Filzmair" userId="9f2635aa-98bd-488f-8ebc-52634097194c" providerId="ADAL" clId="{A591FB47-B660-4782-B8F7-B4F4886E45BC}" dt="2020-04-16T09:03:17.387" v="1719" actId="1038"/>
          <ac:picMkLst>
            <pc:docMk/>
            <pc:sldMk cId="475229487" sldId="3540"/>
            <ac:picMk id="6" creationId="{E0731432-3409-4300-B2FF-8D507AA38F49}"/>
          </ac:picMkLst>
        </pc:picChg>
        <pc:picChg chg="add mod">
          <ac:chgData name="Martin Filzmair" userId="9f2635aa-98bd-488f-8ebc-52634097194c" providerId="ADAL" clId="{A591FB47-B660-4782-B8F7-B4F4886E45BC}" dt="2020-04-16T10:35:36.184" v="1767" actId="1037"/>
          <ac:picMkLst>
            <pc:docMk/>
            <pc:sldMk cId="475229487" sldId="3540"/>
            <ac:picMk id="7" creationId="{5B086521-7577-4D8B-A14C-76DD84517903}"/>
          </ac:picMkLst>
        </pc:picChg>
        <pc:picChg chg="add mod">
          <ac:chgData name="Martin Filzmair" userId="9f2635aa-98bd-488f-8ebc-52634097194c" providerId="ADAL" clId="{A591FB47-B660-4782-B8F7-B4F4886E45BC}" dt="2020-04-16T13:39:04.595" v="1848" actId="1076"/>
          <ac:picMkLst>
            <pc:docMk/>
            <pc:sldMk cId="475229487" sldId="3540"/>
            <ac:picMk id="8" creationId="{18DC6A96-DE1E-4F71-B304-EF102E4177D1}"/>
          </ac:picMkLst>
        </pc:picChg>
        <pc:picChg chg="add mod">
          <ac:chgData name="Martin Filzmair" userId="9f2635aa-98bd-488f-8ebc-52634097194c" providerId="ADAL" clId="{A591FB47-B660-4782-B8F7-B4F4886E45BC}" dt="2020-04-16T10:03:47.906" v="1759" actId="164"/>
          <ac:picMkLst>
            <pc:docMk/>
            <pc:sldMk cId="475229487" sldId="3540"/>
            <ac:picMk id="9" creationId="{52A34A33-C0E5-46AA-92A9-5AF4A39A4A97}"/>
          </ac:picMkLst>
        </pc:picChg>
        <pc:picChg chg="add">
          <ac:chgData name="Martin Filzmair" userId="9f2635aa-98bd-488f-8ebc-52634097194c" providerId="ADAL" clId="{A591FB47-B660-4782-B8F7-B4F4886E45BC}" dt="2020-04-15T15:41:11.444" v="1104"/>
          <ac:picMkLst>
            <pc:docMk/>
            <pc:sldMk cId="475229487" sldId="3540"/>
            <ac:picMk id="12" creationId="{DF34FD2A-B9E6-4942-BFD2-BC31D2044E19}"/>
          </ac:picMkLst>
        </pc:picChg>
        <pc:picChg chg="add">
          <ac:chgData name="Martin Filzmair" userId="9f2635aa-98bd-488f-8ebc-52634097194c" providerId="ADAL" clId="{A591FB47-B660-4782-B8F7-B4F4886E45BC}" dt="2020-04-15T15:41:11.444" v="1104"/>
          <ac:picMkLst>
            <pc:docMk/>
            <pc:sldMk cId="475229487" sldId="3540"/>
            <ac:picMk id="13" creationId="{E64A04AD-5EBA-48A3-82DE-12AEC08F075A}"/>
          </ac:picMkLst>
        </pc:picChg>
        <pc:picChg chg="add">
          <ac:chgData name="Martin Filzmair" userId="9f2635aa-98bd-488f-8ebc-52634097194c" providerId="ADAL" clId="{A591FB47-B660-4782-B8F7-B4F4886E45BC}" dt="2020-04-15T15:41:11.444" v="1104"/>
          <ac:picMkLst>
            <pc:docMk/>
            <pc:sldMk cId="475229487" sldId="3540"/>
            <ac:picMk id="14" creationId="{57B7B698-6613-44A7-9A32-1D015E540B84}"/>
          </ac:picMkLst>
        </pc:picChg>
        <pc:picChg chg="add">
          <ac:chgData name="Martin Filzmair" userId="9f2635aa-98bd-488f-8ebc-52634097194c" providerId="ADAL" clId="{A591FB47-B660-4782-B8F7-B4F4886E45BC}" dt="2020-04-15T15:41:11.444" v="1104"/>
          <ac:picMkLst>
            <pc:docMk/>
            <pc:sldMk cId="475229487" sldId="3540"/>
            <ac:picMk id="15" creationId="{194679E6-67ED-4491-8F38-13D1CA30A550}"/>
          </ac:picMkLst>
        </pc:picChg>
        <pc:picChg chg="add del mod">
          <ac:chgData name="Martin Filzmair" userId="9f2635aa-98bd-488f-8ebc-52634097194c" providerId="ADAL" clId="{A591FB47-B660-4782-B8F7-B4F4886E45BC}" dt="2020-04-16T09:04:50.991" v="1722" actId="478"/>
          <ac:picMkLst>
            <pc:docMk/>
            <pc:sldMk cId="475229487" sldId="3540"/>
            <ac:picMk id="17" creationId="{1A0989C4-B5D3-4EA2-BAD5-FBFF95F26992}"/>
          </ac:picMkLst>
        </pc:picChg>
        <pc:picChg chg="add del mod">
          <ac:chgData name="Martin Filzmair" userId="9f2635aa-98bd-488f-8ebc-52634097194c" providerId="ADAL" clId="{A591FB47-B660-4782-B8F7-B4F4886E45BC}" dt="2020-04-16T07:59:17.455" v="1599" actId="478"/>
          <ac:picMkLst>
            <pc:docMk/>
            <pc:sldMk cId="475229487" sldId="3540"/>
            <ac:picMk id="18" creationId="{E158B44C-742E-45A5-A58F-9D9F67C8CB17}"/>
          </ac:picMkLst>
        </pc:picChg>
        <pc:picChg chg="add del mod">
          <ac:chgData name="Martin Filzmair" userId="9f2635aa-98bd-488f-8ebc-52634097194c" providerId="ADAL" clId="{A591FB47-B660-4782-B8F7-B4F4886E45BC}" dt="2020-04-16T07:58:01.414" v="1587" actId="478"/>
          <ac:picMkLst>
            <pc:docMk/>
            <pc:sldMk cId="475229487" sldId="3540"/>
            <ac:picMk id="19" creationId="{BA2E8709-E3A1-413E-9E06-C15149F7A091}"/>
          </ac:picMkLst>
        </pc:picChg>
        <pc:picChg chg="add del mod">
          <ac:chgData name="Martin Filzmair" userId="9f2635aa-98bd-488f-8ebc-52634097194c" providerId="ADAL" clId="{A591FB47-B660-4782-B8F7-B4F4886E45BC}" dt="2020-04-16T07:58:25.634" v="1591" actId="478"/>
          <ac:picMkLst>
            <pc:docMk/>
            <pc:sldMk cId="475229487" sldId="3540"/>
            <ac:picMk id="20" creationId="{064D1E53-E19F-4EF6-A5CB-0217BF228749}"/>
          </ac:picMkLst>
        </pc:picChg>
        <pc:picChg chg="add del mod">
          <ac:chgData name="Martin Filzmair" userId="9f2635aa-98bd-488f-8ebc-52634097194c" providerId="ADAL" clId="{A591FB47-B660-4782-B8F7-B4F4886E45BC}" dt="2020-04-16T07:58:48.614" v="1595" actId="478"/>
          <ac:picMkLst>
            <pc:docMk/>
            <pc:sldMk cId="475229487" sldId="3540"/>
            <ac:picMk id="26" creationId="{F7680E65-9EA7-40AA-94BA-FB96ECCA6639}"/>
          </ac:picMkLst>
        </pc:picChg>
        <pc:picChg chg="add del mod">
          <ac:chgData name="Martin Filzmair" userId="9f2635aa-98bd-488f-8ebc-52634097194c" providerId="ADAL" clId="{A591FB47-B660-4782-B8F7-B4F4886E45BC}" dt="2020-04-16T07:56:49.640" v="1581" actId="478"/>
          <ac:picMkLst>
            <pc:docMk/>
            <pc:sldMk cId="475229487" sldId="3540"/>
            <ac:picMk id="28" creationId="{BF6E6B86-1339-4BD1-9257-BF16C4104E29}"/>
          </ac:picMkLst>
        </pc:picChg>
        <pc:picChg chg="add del mod">
          <ac:chgData name="Martin Filzmair" userId="9f2635aa-98bd-488f-8ebc-52634097194c" providerId="ADAL" clId="{A591FB47-B660-4782-B8F7-B4F4886E45BC}" dt="2020-04-16T08:59:13.127" v="1603" actId="478"/>
          <ac:picMkLst>
            <pc:docMk/>
            <pc:sldMk cId="475229487" sldId="3540"/>
            <ac:picMk id="35" creationId="{0541C04B-3FDB-4901-AC06-DF122946656B}"/>
          </ac:picMkLst>
        </pc:picChg>
        <pc:picChg chg="add mod modCrop">
          <ac:chgData name="Martin Filzmair" userId="9f2635aa-98bd-488f-8ebc-52634097194c" providerId="ADAL" clId="{A591FB47-B660-4782-B8F7-B4F4886E45BC}" dt="2020-04-16T09:07:02.463" v="1744" actId="1035"/>
          <ac:picMkLst>
            <pc:docMk/>
            <pc:sldMk cId="475229487" sldId="3540"/>
            <ac:picMk id="37" creationId="{6F84C60D-0921-4FA3-87FA-4B2F708C915F}"/>
          </ac:picMkLst>
        </pc:picChg>
      </pc:sldChg>
      <pc:sldChg chg="addSp delSp modSp add">
        <pc:chgData name="Martin Filzmair" userId="9f2635aa-98bd-488f-8ebc-52634097194c" providerId="ADAL" clId="{A591FB47-B660-4782-B8F7-B4F4886E45BC}" dt="2020-04-15T15:59:12.167" v="1570"/>
        <pc:sldMkLst>
          <pc:docMk/>
          <pc:sldMk cId="438346184" sldId="3541"/>
        </pc:sldMkLst>
        <pc:spChg chg="mod">
          <ac:chgData name="Martin Filzmair" userId="9f2635aa-98bd-488f-8ebc-52634097194c" providerId="ADAL" clId="{A591FB47-B660-4782-B8F7-B4F4886E45BC}" dt="2020-04-15T15:55:54.647" v="1537" actId="20577"/>
          <ac:spMkLst>
            <pc:docMk/>
            <pc:sldMk cId="438346184" sldId="3541"/>
            <ac:spMk id="2" creationId="{564B1C1B-1466-4022-9709-E929E46F4A32}"/>
          </ac:spMkLst>
        </pc:spChg>
        <pc:spChg chg="mod">
          <ac:chgData name="Martin Filzmair" userId="9f2635aa-98bd-488f-8ebc-52634097194c" providerId="ADAL" clId="{A591FB47-B660-4782-B8F7-B4F4886E45BC}" dt="2020-04-15T15:57:20.481" v="1554" actId="20577"/>
          <ac:spMkLst>
            <pc:docMk/>
            <pc:sldMk cId="438346184" sldId="3541"/>
            <ac:spMk id="3" creationId="{09BA04F2-8144-4E5B-9EFB-BEE2001B6F47}"/>
          </ac:spMkLst>
        </pc:spChg>
        <pc:spChg chg="del">
          <ac:chgData name="Martin Filzmair" userId="9f2635aa-98bd-488f-8ebc-52634097194c" providerId="ADAL" clId="{A591FB47-B660-4782-B8F7-B4F4886E45BC}" dt="2020-04-15T15:56:00.190" v="1539" actId="478"/>
          <ac:spMkLst>
            <pc:docMk/>
            <pc:sldMk cId="438346184" sldId="3541"/>
            <ac:spMk id="4" creationId="{509B820D-5220-4470-B39B-BDB071FF6CE7}"/>
          </ac:spMkLst>
        </pc:spChg>
        <pc:spChg chg="add">
          <ac:chgData name="Martin Filzmair" userId="9f2635aa-98bd-488f-8ebc-52634097194c" providerId="ADAL" clId="{A591FB47-B660-4782-B8F7-B4F4886E45BC}" dt="2020-04-15T15:59:12.167" v="1570"/>
          <ac:spMkLst>
            <pc:docMk/>
            <pc:sldMk cId="438346184" sldId="3541"/>
            <ac:spMk id="5" creationId="{92E8BB27-32CD-4869-A72F-F1D3F8C8FBB2}"/>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850443" y="0"/>
            <a:ext cx="2945659" cy="496411"/>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9A342675-F96A-4EBF-84D7-BB1D9FE22789}" type="datetimeFigureOut">
              <a:rPr lang="en-US"/>
              <a:pPr>
                <a:defRPr/>
              </a:pPr>
              <a:t>4/16/2020</a:t>
            </a:fld>
            <a:endParaRPr lang="en-US"/>
          </a:p>
        </p:txBody>
      </p:sp>
      <p:sp>
        <p:nvSpPr>
          <p:cNvPr id="4" name="Slide Image Placeholder 3"/>
          <p:cNvSpPr>
            <a:spLocks noGrp="1" noRot="1" noChangeAspect="1"/>
          </p:cNvSpPr>
          <p:nvPr>
            <p:ph type="sldImg" idx="2"/>
          </p:nvPr>
        </p:nvSpPr>
        <p:spPr>
          <a:xfrm>
            <a:off x="88900" y="744538"/>
            <a:ext cx="6619875" cy="3722687"/>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21A24A5D-6002-449A-B97E-6BC328D64E7D}" type="slidenum">
              <a:rPr lang="en-US"/>
              <a:pPr>
                <a:defRPr/>
              </a:pPr>
              <a:t>‹#›</a:t>
            </a:fld>
            <a:endParaRPr lang="en-US"/>
          </a:p>
        </p:txBody>
      </p:sp>
    </p:spTree>
    <p:extLst>
      <p:ext uri="{BB962C8B-B14F-4D97-AF65-F5344CB8AC3E}">
        <p14:creationId xmlns:p14="http://schemas.microsoft.com/office/powerpoint/2010/main" val="398525713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A24A5D-6002-449A-B97E-6BC328D64E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8202475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8.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8.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8.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8.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8.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8.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8.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8.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8.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8.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wmf"/><Relationship Id="rId1" Type="http://schemas.openxmlformats.org/officeDocument/2006/relationships/slideMaster" Target="../slideMasters/slideMaster18.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9.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0.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0.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0.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0.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0.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4.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0.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0.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wmf"/><Relationship Id="rId1" Type="http://schemas.openxmlformats.org/officeDocument/2006/relationships/slideMaster" Target="../slideMasters/slideMaster20.xml"/><Relationship Id="rId5" Type="http://schemas.openxmlformats.org/officeDocument/2006/relationships/image" Target="../media/image18.png"/><Relationship Id="rId4" Type="http://schemas.openxmlformats.org/officeDocument/2006/relationships/image" Target="../media/image3.png"/></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0.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20.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1.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1.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1.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wmf"/><Relationship Id="rId1" Type="http://schemas.openxmlformats.org/officeDocument/2006/relationships/slideMaster" Target="../slideMasters/slideMaster21.xml"/><Relationship Id="rId6" Type="http://schemas.openxmlformats.org/officeDocument/2006/relationships/image" Target="../media/image18.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2.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wmf"/><Relationship Id="rId1" Type="http://schemas.openxmlformats.org/officeDocument/2006/relationships/slideMaster" Target="../slideMasters/slideMaster2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2.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2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3.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3.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wmf"/><Relationship Id="rId1" Type="http://schemas.openxmlformats.org/officeDocument/2006/relationships/slideMaster" Target="../slideMasters/slideMaster23.xml"/><Relationship Id="rId6" Type="http://schemas.openxmlformats.org/officeDocument/2006/relationships/image" Target="../media/image18.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4.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4.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4.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4.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4.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5.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4.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4.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wmf"/><Relationship Id="rId1" Type="http://schemas.openxmlformats.org/officeDocument/2006/relationships/slideMaster" Target="../slideMasters/slideMaster24.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4.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2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wmf"/><Relationship Id="rId1" Type="http://schemas.openxmlformats.org/officeDocument/2006/relationships/slideMaster" Target="../slideMasters/slideMaster5.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wmf"/><Relationship Id="rId1" Type="http://schemas.openxmlformats.org/officeDocument/2006/relationships/slideMaster" Target="../slideMasters/slideMaster7.xml"/><Relationship Id="rId6" Type="http://schemas.openxmlformats.org/officeDocument/2006/relationships/image" Target="../media/image9.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wmf"/><Relationship Id="rId1" Type="http://schemas.openxmlformats.org/officeDocument/2006/relationships/slideMaster" Target="../slideMasters/slideMaster9.xml"/><Relationship Id="rId6" Type="http://schemas.openxmlformats.org/officeDocument/2006/relationships/image" Target="../media/image12.png"/><Relationship Id="rId5" Type="http://schemas.openxmlformats.org/officeDocument/2006/relationships/image" Target="../media/image9.png"/><Relationship Id="rId4" Type="http://schemas.openxmlformats.org/officeDocument/2006/relationships/image" Target="../media/image3.png"/></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wmf"/><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wmf"/><Relationship Id="rId1" Type="http://schemas.openxmlformats.org/officeDocument/2006/relationships/slideMaster" Target="../slideMasters/slideMaster14.xml"/><Relationship Id="rId5" Type="http://schemas.openxmlformats.org/officeDocument/2006/relationships/image" Target="../media/image18.png"/><Relationship Id="rId4" Type="http://schemas.openxmlformats.org/officeDocument/2006/relationships/image" Target="../media/image3.png"/></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14.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0.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wmf"/><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wmf"/><Relationship Id="rId1" Type="http://schemas.openxmlformats.org/officeDocument/2006/relationships/slideMaster" Target="../slideMasters/slideMaster15.xml"/><Relationship Id="rId6" Type="http://schemas.openxmlformats.org/officeDocument/2006/relationships/image" Target="../media/image21.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6.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Chapter pa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0165" y="1908101"/>
            <a:ext cx="10589444" cy="995809"/>
          </a:xfrm>
        </p:spPr>
        <p:txBody>
          <a:bodyPr>
            <a:noAutofit/>
          </a:bodyPr>
          <a:lstStyle>
            <a:lvl1pPr algn="ctr">
              <a:defRPr sz="5400">
                <a:solidFill>
                  <a:schemeClr val="bg2"/>
                </a:solidFill>
              </a:defRPr>
            </a:lvl1pPr>
          </a:lstStyle>
          <a:p>
            <a:r>
              <a:rPr lang="en-US" dirty="0"/>
              <a:t>Click to edit Master title style</a:t>
            </a:r>
            <a:endParaRPr lang="en-GB" dirty="0"/>
          </a:p>
        </p:txBody>
      </p:sp>
      <p:sp>
        <p:nvSpPr>
          <p:cNvPr id="6" name="Slide Number Placeholder 5"/>
          <p:cNvSpPr>
            <a:spLocks noGrp="1"/>
          </p:cNvSpPr>
          <p:nvPr>
            <p:ph type="sldNum" sz="quarter" idx="12"/>
          </p:nvPr>
        </p:nvSpPr>
        <p:spPr/>
        <p:txBody>
          <a:bodyPr/>
          <a:lstStyle/>
          <a:p>
            <a:fld id="{C864BB8D-94B4-466C-94BF-D114C83BF951}" type="slidenum">
              <a:rPr lang="en-GB" smtClean="0"/>
              <a:t>‹#›</a:t>
            </a:fld>
            <a:endParaRPr lang="en-GB"/>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7" name="Holder 2"/>
          <p:cNvSpPr>
            <a:spLocks noGrp="1"/>
          </p:cNvSpPr>
          <p:nvPr>
            <p:ph type="ftr" sz="quarter" idx="5"/>
          </p:nvPr>
        </p:nvSpPr>
        <p:spPr>
          <a:xfrm>
            <a:off x="1116335" y="6340475"/>
            <a:ext cx="4108450" cy="363538"/>
          </a:xfrm>
        </p:spPr>
        <p:txBody>
          <a:bodyPr lIns="0" tIns="0" rIns="0" bIns="0"/>
          <a:lstStyle>
            <a:lvl1pPr algn="ctr">
              <a:defRPr>
                <a:solidFill>
                  <a:schemeClr val="tx1">
                    <a:tint val="75000"/>
                  </a:schemeClr>
                </a:solidFill>
              </a:defRPr>
            </a:lvl1pPr>
          </a:lstStyle>
          <a:p>
            <a:r>
              <a:rPr lang="en-US"/>
              <a:t>© HL Display 2017 – All rights reserved</a:t>
            </a:r>
            <a:endParaRPr/>
          </a:p>
        </p:txBody>
      </p:sp>
    </p:spTree>
    <p:extLst>
      <p:ext uri="{BB962C8B-B14F-4D97-AF65-F5344CB8AC3E}">
        <p14:creationId xmlns:p14="http://schemas.microsoft.com/office/powerpoint/2010/main" val="26779644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AC9A0-89EA-460B-AB4A-6D2A8A99C050}"/>
              </a:ext>
            </a:extLst>
          </p:cNvPr>
          <p:cNvSpPr>
            <a:spLocks noGrp="1"/>
          </p:cNvSpPr>
          <p:nvPr>
            <p:ph type="ctrTitle"/>
          </p:nvPr>
        </p:nvSpPr>
        <p:spPr>
          <a:xfrm>
            <a:off x="1520825" y="1119188"/>
            <a:ext cx="9128125" cy="2381250"/>
          </a:xfrm>
          <a:prstGeom prst="rect">
            <a:avLst/>
          </a:prstGeo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ED11FC2-3D7E-4CB2-BA1B-E927D09169B0}"/>
              </a:ext>
            </a:extLst>
          </p:cNvPr>
          <p:cNvSpPr>
            <a:spLocks noGrp="1"/>
          </p:cNvSpPr>
          <p:nvPr>
            <p:ph type="subTitle" idx="1"/>
          </p:nvPr>
        </p:nvSpPr>
        <p:spPr>
          <a:xfrm>
            <a:off x="1520825" y="3592513"/>
            <a:ext cx="9128125" cy="1652587"/>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3346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Transparent colour for picture background">
    <p:spTree>
      <p:nvGrpSpPr>
        <p:cNvPr id="1" name=""/>
        <p:cNvGrpSpPr/>
        <p:nvPr/>
      </p:nvGrpSpPr>
      <p:grpSpPr>
        <a:xfrm>
          <a:off x="0" y="0"/>
          <a:ext cx="0" cy="0"/>
          <a:chOff x="0" y="0"/>
          <a:chExt cx="0" cy="0"/>
        </a:xfrm>
      </p:grpSpPr>
      <p:sp>
        <p:nvSpPr>
          <p:cNvPr id="5" name="Freeform 4"/>
          <p:cNvSpPr/>
          <p:nvPr userDrawn="1"/>
        </p:nvSpPr>
        <p:spPr>
          <a:xfrm>
            <a:off x="-28576" y="1146412"/>
            <a:ext cx="7806519" cy="3712191"/>
          </a:xfrm>
          <a:custGeom>
            <a:avLst/>
            <a:gdLst>
              <a:gd name="connsiteX0" fmla="*/ 0 w 7806519"/>
              <a:gd name="connsiteY0" fmla="*/ 0 h 3712191"/>
              <a:gd name="connsiteX1" fmla="*/ 7806519 w 7806519"/>
              <a:gd name="connsiteY1" fmla="*/ 0 h 3712191"/>
              <a:gd name="connsiteX2" fmla="*/ 6564573 w 7806519"/>
              <a:gd name="connsiteY2" fmla="*/ 3712191 h 3712191"/>
              <a:gd name="connsiteX3" fmla="*/ 13648 w 7806519"/>
              <a:gd name="connsiteY3" fmla="*/ 3712191 h 3712191"/>
              <a:gd name="connsiteX4" fmla="*/ 0 w 7806519"/>
              <a:gd name="connsiteY4" fmla="*/ 0 h 3712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6519" h="3712191">
                <a:moveTo>
                  <a:pt x="0" y="0"/>
                </a:moveTo>
                <a:lnTo>
                  <a:pt x="7806519" y="0"/>
                </a:lnTo>
                <a:lnTo>
                  <a:pt x="6564573" y="3712191"/>
                </a:lnTo>
                <a:lnTo>
                  <a:pt x="13648" y="3712191"/>
                </a:lnTo>
                <a:cubicBezTo>
                  <a:pt x="9099" y="2474794"/>
                  <a:pt x="4549" y="1237397"/>
                  <a:pt x="0" y="0"/>
                </a:cubicBezTo>
                <a:close/>
              </a:path>
            </a:pathLst>
          </a:cu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 name="Title 1"/>
          <p:cNvSpPr>
            <a:spLocks noGrp="1"/>
          </p:cNvSpPr>
          <p:nvPr>
            <p:ph type="ctrTitle"/>
          </p:nvPr>
        </p:nvSpPr>
        <p:spPr>
          <a:xfrm>
            <a:off x="972000" y="2772000"/>
            <a:ext cx="5616000" cy="1512000"/>
          </a:xfrm>
          <a:prstGeom prst="rect">
            <a:avLst/>
          </a:prstGeom>
        </p:spPr>
        <p:txBody>
          <a:bodyPr>
            <a:noAutofit/>
          </a:bodyPr>
          <a:lstStyle/>
          <a:p>
            <a:r>
              <a:rPr lang="en-US"/>
              <a:t>Click to edit Master title style</a:t>
            </a:r>
            <a:endParaRPr lang="en-GB"/>
          </a:p>
        </p:txBody>
      </p:sp>
      <p:sp>
        <p:nvSpPr>
          <p:cNvPr id="3" name="Subtitle 2"/>
          <p:cNvSpPr>
            <a:spLocks noGrp="1"/>
          </p:cNvSpPr>
          <p:nvPr>
            <p:ph type="subTitle" idx="1" hasCustomPrompt="1"/>
          </p:nvPr>
        </p:nvSpPr>
        <p:spPr>
          <a:xfrm>
            <a:off x="972000" y="4305600"/>
            <a:ext cx="5616000" cy="410400"/>
          </a:xfrm>
          <a:prstGeom prst="rect">
            <a:avLst/>
          </a:prstGeom>
        </p:spPr>
        <p:txBody>
          <a:bodyPr>
            <a:noAutofit/>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1430" y="1764084"/>
            <a:ext cx="1469814" cy="900000"/>
          </a:xfrm>
          <a:prstGeom prst="rect">
            <a:avLst/>
          </a:prstGeom>
        </p:spPr>
      </p:pic>
    </p:spTree>
    <p:extLst>
      <p:ext uri="{BB962C8B-B14F-4D97-AF65-F5344CB8AC3E}">
        <p14:creationId xmlns:p14="http://schemas.microsoft.com/office/powerpoint/2010/main" val="389794426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Standard page">
    <p:spTree>
      <p:nvGrpSpPr>
        <p:cNvPr id="1" name=""/>
        <p:cNvGrpSpPr/>
        <p:nvPr/>
      </p:nvGrpSpPr>
      <p:grpSpPr>
        <a:xfrm>
          <a:off x="0" y="0"/>
          <a:ext cx="0" cy="0"/>
          <a:chOff x="0" y="0"/>
          <a:chExt cx="0" cy="0"/>
        </a:xfrm>
      </p:grpSpPr>
      <p:sp>
        <p:nvSpPr>
          <p:cNvPr id="2" name="Title 1"/>
          <p:cNvSpPr>
            <a:spLocks noGrp="1"/>
          </p:cNvSpPr>
          <p:nvPr>
            <p:ph type="title"/>
          </p:nvPr>
        </p:nvSpPr>
        <p:spPr>
          <a:xfrm>
            <a:off x="972319" y="408236"/>
            <a:ext cx="10297144" cy="1139825"/>
          </a:xfrm>
        </p:spPr>
        <p:txBody>
          <a:bodyPr/>
          <a:lstStyle/>
          <a:p>
            <a:r>
              <a:rPr lang="en-US"/>
              <a:t>Click to edit Master title style</a:t>
            </a:r>
            <a:endParaRPr lang="en-GB"/>
          </a:p>
        </p:txBody>
      </p:sp>
      <p:sp>
        <p:nvSpPr>
          <p:cNvPr id="3" name="Slide Number Placeholder 2"/>
          <p:cNvSpPr>
            <a:spLocks noGrp="1"/>
          </p:cNvSpPr>
          <p:nvPr>
            <p:ph type="sldNum" sz="quarter" idx="10"/>
          </p:nvPr>
        </p:nvSpPr>
        <p:spPr>
          <a:xfrm>
            <a:off x="468263" y="6312292"/>
            <a:ext cx="1152000" cy="363538"/>
          </a:xfrm>
        </p:spPr>
        <p:txBody>
          <a:bodyPr/>
          <a:lstStyle/>
          <a:p>
            <a:fld id="{C864BB8D-94B4-466C-94BF-D114C83BF951}" type="slidenum">
              <a:rPr lang="en-GB" smtClean="0"/>
              <a:pPr/>
              <a:t>‹#›</a:t>
            </a:fld>
            <a:endParaRPr lang="en-GB"/>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4155" y="5904252"/>
            <a:ext cx="885348" cy="540353"/>
          </a:xfrm>
          <a:prstGeom prst="rect">
            <a:avLst/>
          </a:prstGeom>
        </p:spPr>
      </p:pic>
      <p:sp>
        <p:nvSpPr>
          <p:cNvPr id="7" name="Text Placeholder 6"/>
          <p:cNvSpPr>
            <a:spLocks noGrp="1"/>
          </p:cNvSpPr>
          <p:nvPr>
            <p:ph type="body" sz="quarter" idx="11"/>
          </p:nvPr>
        </p:nvSpPr>
        <p:spPr>
          <a:xfrm>
            <a:off x="971550" y="2001600"/>
            <a:ext cx="10297913" cy="3959671"/>
          </a:xfrm>
        </p:spPr>
        <p:txBody>
          <a:bodyPr/>
          <a:lstStyle>
            <a:lvl2pPr marL="174625" indent="-174625">
              <a:defRPr b="0">
                <a:latin typeface="Arial" panose="020B0604020202020204" pitchFamily="34" charset="0"/>
              </a:defRPr>
            </a:lvl2pPr>
            <a:lvl3pPr marL="446088" indent="-182563">
              <a:defRPr>
                <a:latin typeface="Arial" panose="020B0604020202020204" pitchFamily="34" charset="0"/>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8482879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Introduction presentation">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5"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p>
            <a:endParaRPr lang="en-GB"/>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7" name="Text Placeholder 6"/>
          <p:cNvSpPr>
            <a:spLocks noGrp="1"/>
          </p:cNvSpPr>
          <p:nvPr>
            <p:ph type="body" sz="quarter" idx="12"/>
          </p:nvPr>
        </p:nvSpPr>
        <p:spPr>
          <a:xfrm>
            <a:off x="5148783" y="2339355"/>
            <a:ext cx="5822950" cy="2305050"/>
          </a:xfrm>
        </p:spPr>
        <p:txBody>
          <a:bodyPr/>
          <a:lstStyle>
            <a:lvl1pPr>
              <a:defRPr sz="4000">
                <a:solidFill>
                  <a:schemeClr val="tx2"/>
                </a:solidFill>
              </a:defRPr>
            </a:lvl1pPr>
            <a:lvl2pPr>
              <a:defRPr b="0"/>
            </a:lvl2pPr>
          </a:lstStyle>
          <a:p>
            <a:pPr lvl="0"/>
            <a:r>
              <a:rPr lang="en-US"/>
              <a:t>Click to edit Master text styles</a:t>
            </a:r>
          </a:p>
          <a:p>
            <a:pPr lvl="1"/>
            <a:r>
              <a:rPr lang="en-US"/>
              <a:t>Second level</a:t>
            </a:r>
          </a:p>
        </p:txBody>
      </p:sp>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8 – All rights reserved</a:t>
            </a:r>
            <a:endParaRPr lang="fr-FR"/>
          </a:p>
        </p:txBody>
      </p:sp>
    </p:spTree>
    <p:extLst>
      <p:ext uri="{BB962C8B-B14F-4D97-AF65-F5344CB8AC3E}">
        <p14:creationId xmlns:p14="http://schemas.microsoft.com/office/powerpoint/2010/main" val="254439077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ull color for 5th element and white bacground">
    <p:spTree>
      <p:nvGrpSpPr>
        <p:cNvPr id="1" name=""/>
        <p:cNvGrpSpPr/>
        <p:nvPr/>
      </p:nvGrpSpPr>
      <p:grpSpPr>
        <a:xfrm>
          <a:off x="0" y="0"/>
          <a:ext cx="0" cy="0"/>
          <a:chOff x="0" y="0"/>
          <a:chExt cx="0" cy="0"/>
        </a:xfrm>
      </p:grpSpPr>
      <p:sp>
        <p:nvSpPr>
          <p:cNvPr id="5" name="Freeform 4"/>
          <p:cNvSpPr/>
          <p:nvPr userDrawn="1"/>
        </p:nvSpPr>
        <p:spPr>
          <a:xfrm>
            <a:off x="-28576" y="1146412"/>
            <a:ext cx="7806519" cy="3712191"/>
          </a:xfrm>
          <a:custGeom>
            <a:avLst/>
            <a:gdLst>
              <a:gd name="connsiteX0" fmla="*/ 0 w 7806519"/>
              <a:gd name="connsiteY0" fmla="*/ 0 h 3712191"/>
              <a:gd name="connsiteX1" fmla="*/ 7806519 w 7806519"/>
              <a:gd name="connsiteY1" fmla="*/ 0 h 3712191"/>
              <a:gd name="connsiteX2" fmla="*/ 6564573 w 7806519"/>
              <a:gd name="connsiteY2" fmla="*/ 3712191 h 3712191"/>
              <a:gd name="connsiteX3" fmla="*/ 13648 w 7806519"/>
              <a:gd name="connsiteY3" fmla="*/ 3712191 h 3712191"/>
              <a:gd name="connsiteX4" fmla="*/ 0 w 7806519"/>
              <a:gd name="connsiteY4" fmla="*/ 0 h 3712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6519" h="3712191">
                <a:moveTo>
                  <a:pt x="0" y="0"/>
                </a:moveTo>
                <a:lnTo>
                  <a:pt x="7806519" y="0"/>
                </a:lnTo>
                <a:lnTo>
                  <a:pt x="6564573" y="3712191"/>
                </a:lnTo>
                <a:lnTo>
                  <a:pt x="13648" y="3712191"/>
                </a:lnTo>
                <a:cubicBezTo>
                  <a:pt x="9099" y="2474794"/>
                  <a:pt x="4549" y="1237397"/>
                  <a:pt x="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972000" y="2772365"/>
            <a:ext cx="5616000" cy="1512000"/>
          </a:xfrm>
          <a:prstGeom prst="rect">
            <a:avLst/>
          </a:prstGeom>
        </p:spPr>
        <p:txBody>
          <a:bodyPr>
            <a:noAutofit/>
          </a:bodyPr>
          <a:lstStyle/>
          <a:p>
            <a:r>
              <a:rPr lang="en-US"/>
              <a:t>Click to edit Master title style</a:t>
            </a:r>
            <a:endParaRPr lang="en-GB" dirty="0"/>
          </a:p>
        </p:txBody>
      </p:sp>
      <p:sp>
        <p:nvSpPr>
          <p:cNvPr id="3" name="Subtitle 2"/>
          <p:cNvSpPr>
            <a:spLocks noGrp="1"/>
          </p:cNvSpPr>
          <p:nvPr>
            <p:ph type="subTitle" idx="1" hasCustomPrompt="1"/>
          </p:nvPr>
        </p:nvSpPr>
        <p:spPr>
          <a:xfrm>
            <a:off x="972000" y="4305600"/>
            <a:ext cx="5616000" cy="410400"/>
          </a:xfrm>
          <a:prstGeom prst="rect">
            <a:avLst/>
          </a:prstGeom>
        </p:spPr>
        <p:txBody>
          <a:bodyPr>
            <a:noAutofit/>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1430" y="1764084"/>
            <a:ext cx="1469814" cy="900000"/>
          </a:xfrm>
          <a:prstGeom prst="rect">
            <a:avLst/>
          </a:prstGeom>
        </p:spPr>
      </p:pic>
      <p:sp>
        <p:nvSpPr>
          <p:cNvPr id="6" name="Footer Placeholder 1"/>
          <p:cNvSpPr>
            <a:spLocks noGrp="1"/>
          </p:cNvSpPr>
          <p:nvPr>
            <p:ph type="ftr" sz="quarter" idx="3"/>
          </p:nvPr>
        </p:nvSpPr>
        <p:spPr>
          <a:xfrm>
            <a:off x="1116335" y="6340475"/>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146970528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reserve="1">
  <p:cSld name="Transparent colour for picture background">
    <p:spTree>
      <p:nvGrpSpPr>
        <p:cNvPr id="1" name=""/>
        <p:cNvGrpSpPr/>
        <p:nvPr/>
      </p:nvGrpSpPr>
      <p:grpSpPr>
        <a:xfrm>
          <a:off x="0" y="0"/>
          <a:ext cx="0" cy="0"/>
          <a:chOff x="0" y="0"/>
          <a:chExt cx="0" cy="0"/>
        </a:xfrm>
      </p:grpSpPr>
      <p:sp>
        <p:nvSpPr>
          <p:cNvPr id="5" name="Freeform 4"/>
          <p:cNvSpPr/>
          <p:nvPr userDrawn="1"/>
        </p:nvSpPr>
        <p:spPr>
          <a:xfrm>
            <a:off x="-28576" y="1146412"/>
            <a:ext cx="7806519" cy="3712191"/>
          </a:xfrm>
          <a:custGeom>
            <a:avLst/>
            <a:gdLst>
              <a:gd name="connsiteX0" fmla="*/ 0 w 7806519"/>
              <a:gd name="connsiteY0" fmla="*/ 0 h 3712191"/>
              <a:gd name="connsiteX1" fmla="*/ 7806519 w 7806519"/>
              <a:gd name="connsiteY1" fmla="*/ 0 h 3712191"/>
              <a:gd name="connsiteX2" fmla="*/ 6564573 w 7806519"/>
              <a:gd name="connsiteY2" fmla="*/ 3712191 h 3712191"/>
              <a:gd name="connsiteX3" fmla="*/ 13648 w 7806519"/>
              <a:gd name="connsiteY3" fmla="*/ 3712191 h 3712191"/>
              <a:gd name="connsiteX4" fmla="*/ 0 w 7806519"/>
              <a:gd name="connsiteY4" fmla="*/ 0 h 3712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6519" h="3712191">
                <a:moveTo>
                  <a:pt x="0" y="0"/>
                </a:moveTo>
                <a:lnTo>
                  <a:pt x="7806519" y="0"/>
                </a:lnTo>
                <a:lnTo>
                  <a:pt x="6564573" y="3712191"/>
                </a:lnTo>
                <a:lnTo>
                  <a:pt x="13648" y="3712191"/>
                </a:lnTo>
                <a:cubicBezTo>
                  <a:pt x="9099" y="2474794"/>
                  <a:pt x="4549" y="1237397"/>
                  <a:pt x="0" y="0"/>
                </a:cubicBezTo>
                <a:close/>
              </a:path>
            </a:pathLst>
          </a:cu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972000" y="2772000"/>
            <a:ext cx="5616000" cy="1512000"/>
          </a:xfrm>
          <a:prstGeom prst="rect">
            <a:avLst/>
          </a:prstGeom>
        </p:spPr>
        <p:txBody>
          <a:bodyPr>
            <a:noAutofit/>
          </a:bodyPr>
          <a:lstStyle>
            <a:lvl1pPr>
              <a:defRPr sz="3200" i="0"/>
            </a:lvl1pPr>
          </a:lstStyle>
          <a:p>
            <a:r>
              <a:rPr lang="en-US" dirty="0"/>
              <a:t>Click to edit Master title style - Blue element with transparence for full picture background</a:t>
            </a:r>
            <a:br>
              <a:rPr lang="en-US" dirty="0"/>
            </a:br>
            <a:endParaRPr lang="en-GB" dirty="0"/>
          </a:p>
        </p:txBody>
      </p:sp>
      <p:sp>
        <p:nvSpPr>
          <p:cNvPr id="3" name="Subtitle 2"/>
          <p:cNvSpPr>
            <a:spLocks noGrp="1"/>
          </p:cNvSpPr>
          <p:nvPr>
            <p:ph type="subTitle" idx="1" hasCustomPrompt="1"/>
          </p:nvPr>
        </p:nvSpPr>
        <p:spPr>
          <a:xfrm>
            <a:off x="972000" y="4305600"/>
            <a:ext cx="5616000" cy="410400"/>
          </a:xfrm>
          <a:prstGeom prst="rect">
            <a:avLst/>
          </a:prstGeom>
        </p:spPr>
        <p:txBody>
          <a:bodyPr>
            <a:noAutofit/>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1430" y="1764084"/>
            <a:ext cx="1469814" cy="900000"/>
          </a:xfrm>
          <a:prstGeom prst="rect">
            <a:avLst/>
          </a:prstGeom>
        </p:spPr>
      </p:pic>
      <p:sp>
        <p:nvSpPr>
          <p:cNvPr id="6" name="Footer Placeholder 1"/>
          <p:cNvSpPr>
            <a:spLocks noGrp="1"/>
          </p:cNvSpPr>
          <p:nvPr>
            <p:ph type="ftr" sz="quarter" idx="3"/>
          </p:nvPr>
        </p:nvSpPr>
        <p:spPr>
          <a:xfrm>
            <a:off x="1116335" y="6340475"/>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394198091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tandard page">
    <p:spTree>
      <p:nvGrpSpPr>
        <p:cNvPr id="1" name=""/>
        <p:cNvGrpSpPr/>
        <p:nvPr/>
      </p:nvGrpSpPr>
      <p:grpSpPr>
        <a:xfrm>
          <a:off x="0" y="0"/>
          <a:ext cx="0" cy="0"/>
          <a:chOff x="0" y="0"/>
          <a:chExt cx="0" cy="0"/>
        </a:xfrm>
      </p:grpSpPr>
      <p:sp>
        <p:nvSpPr>
          <p:cNvPr id="2" name="Title 1"/>
          <p:cNvSpPr>
            <a:spLocks noGrp="1"/>
          </p:cNvSpPr>
          <p:nvPr>
            <p:ph type="title"/>
          </p:nvPr>
        </p:nvSpPr>
        <p:spPr>
          <a:xfrm>
            <a:off x="541040" y="408236"/>
            <a:ext cx="11088404" cy="1139825"/>
          </a:xfrm>
        </p:spPr>
        <p:txBody>
          <a:bodyPr/>
          <a:lstStyle/>
          <a:p>
            <a:r>
              <a:rPr lang="en-US" dirty="0"/>
              <a:t>Click to edit Master title style</a:t>
            </a:r>
            <a:endParaRPr lang="en-GB" dirty="0"/>
          </a:p>
        </p:txBody>
      </p:sp>
      <p:sp>
        <p:nvSpPr>
          <p:cNvPr id="3" name="Slide Number Placeholder 2"/>
          <p:cNvSpPr>
            <a:spLocks noGrp="1"/>
          </p:cNvSpPr>
          <p:nvPr>
            <p:ph type="sldNum" sz="quarter" idx="10"/>
          </p:nvPr>
        </p:nvSpPr>
        <p:spPr>
          <a:xfrm>
            <a:off x="540271" y="6369099"/>
            <a:ext cx="431279" cy="367036"/>
          </a:xfrm>
        </p:spPr>
        <p:txBody>
          <a:bodyPr/>
          <a:lstStyle/>
          <a:p>
            <a:fld id="{C864BB8D-94B4-466C-94BF-D114C83BF951}" type="slidenum">
              <a:rPr lang="en-GB" smtClean="0"/>
              <a:pPr/>
              <a:t>‹#›</a:t>
            </a:fld>
            <a:endParaRPr lang="en-GB"/>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7" name="Text Placeholder 6"/>
          <p:cNvSpPr>
            <a:spLocks noGrp="1"/>
          </p:cNvSpPr>
          <p:nvPr>
            <p:ph type="body" sz="quarter" idx="11"/>
          </p:nvPr>
        </p:nvSpPr>
        <p:spPr>
          <a:xfrm>
            <a:off x="540271" y="1620839"/>
            <a:ext cx="11089232" cy="4051746"/>
          </a:xfrm>
        </p:spPr>
        <p:txBody>
          <a:bodyPr/>
          <a:lstStyle>
            <a:lvl1pPr>
              <a:defRPr>
                <a:solidFill>
                  <a:schemeClr val="accent4"/>
                </a:solidFill>
              </a:defRPr>
            </a:lvl1pPr>
            <a:lvl2pPr marL="174625" indent="-174625">
              <a:defRPr b="0">
                <a:solidFill>
                  <a:schemeClr val="accent4"/>
                </a:solidFill>
              </a:defRPr>
            </a:lvl2pPr>
            <a:lvl3pPr marL="446088" indent="-182563">
              <a:defRPr>
                <a:solidFill>
                  <a:schemeClr val="accent4"/>
                </a:solidFill>
              </a:defRPr>
            </a:lvl3pPr>
          </a:lstStyle>
          <a:p>
            <a:pPr lvl="0"/>
            <a:r>
              <a:rPr lang="en-US" dirty="0"/>
              <a:t>Click to edit Master text styles</a:t>
            </a:r>
          </a:p>
          <a:p>
            <a:pPr lvl="1"/>
            <a:r>
              <a:rPr lang="en-US" dirty="0"/>
              <a:t>Second level</a:t>
            </a:r>
          </a:p>
          <a:p>
            <a:pPr lvl="2"/>
            <a:r>
              <a:rPr lang="en-US" dirty="0"/>
              <a:t>Third level</a:t>
            </a:r>
          </a:p>
        </p:txBody>
      </p:sp>
      <p:sp>
        <p:nvSpPr>
          <p:cNvPr id="9"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108901341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Standard p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409E496-0F8B-4FF7-8D20-59228095B454}"/>
              </a:ext>
            </a:extLst>
          </p:cNvPr>
          <p:cNvSpPr/>
          <p:nvPr userDrawn="1"/>
        </p:nvSpPr>
        <p:spPr>
          <a:xfrm>
            <a:off x="-1" y="0"/>
            <a:ext cx="12169775" cy="6840538"/>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 name="Title 1"/>
          <p:cNvSpPr>
            <a:spLocks noGrp="1"/>
          </p:cNvSpPr>
          <p:nvPr>
            <p:ph type="title" hasCustomPrompt="1"/>
          </p:nvPr>
        </p:nvSpPr>
        <p:spPr>
          <a:xfrm>
            <a:off x="541040" y="408236"/>
            <a:ext cx="11088404" cy="1139825"/>
          </a:xfrm>
        </p:spPr>
        <p:txBody>
          <a:bodyPr/>
          <a:lstStyle>
            <a:lvl1pPr>
              <a:defRPr>
                <a:solidFill>
                  <a:schemeClr val="bg2"/>
                </a:solidFill>
              </a:defRPr>
            </a:lvl1pPr>
          </a:lstStyle>
          <a:p>
            <a:r>
              <a:rPr lang="en-US" dirty="0"/>
              <a:t>Transparence for full picture background</a:t>
            </a:r>
            <a:endParaRPr lang="en-GB" dirty="0"/>
          </a:p>
        </p:txBody>
      </p:sp>
      <p:sp>
        <p:nvSpPr>
          <p:cNvPr id="3" name="Slide Number Placeholder 2"/>
          <p:cNvSpPr>
            <a:spLocks noGrp="1"/>
          </p:cNvSpPr>
          <p:nvPr>
            <p:ph type="sldNum" sz="quarter" idx="10"/>
          </p:nvPr>
        </p:nvSpPr>
        <p:spPr>
          <a:xfrm>
            <a:off x="540271" y="6369099"/>
            <a:ext cx="431279" cy="367036"/>
          </a:xfrm>
        </p:spPr>
        <p:txBody>
          <a:bodyPr/>
          <a:lstStyle/>
          <a:p>
            <a:fld id="{C864BB8D-94B4-466C-94BF-D114C83BF951}" type="slidenum">
              <a:rPr lang="en-GB" smtClean="0"/>
              <a:pPr/>
              <a:t>‹#›</a:t>
            </a:fld>
            <a:endParaRPr lang="en-GB"/>
          </a:p>
        </p:txBody>
      </p:sp>
      <p:sp>
        <p:nvSpPr>
          <p:cNvPr id="7" name="Text Placeholder 6"/>
          <p:cNvSpPr>
            <a:spLocks noGrp="1"/>
          </p:cNvSpPr>
          <p:nvPr>
            <p:ph type="body" sz="quarter" idx="11"/>
          </p:nvPr>
        </p:nvSpPr>
        <p:spPr>
          <a:xfrm>
            <a:off x="540271" y="1620839"/>
            <a:ext cx="11089232" cy="4051746"/>
          </a:xfrm>
        </p:spPr>
        <p:txBody>
          <a:bodyPr/>
          <a:lstStyle>
            <a:lvl1pPr>
              <a:defRPr>
                <a:solidFill>
                  <a:schemeClr val="bg2"/>
                </a:solidFill>
              </a:defRPr>
            </a:lvl1pPr>
            <a:lvl2pPr marL="174625" indent="-174625">
              <a:defRPr b="0">
                <a:solidFill>
                  <a:schemeClr val="bg2"/>
                </a:solidFill>
              </a:defRPr>
            </a:lvl2pPr>
            <a:lvl3pPr marL="446088" indent="-182563">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9"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pic>
        <p:nvPicPr>
          <p:cNvPr id="11" name="Picture 10">
            <a:extLst>
              <a:ext uri="{FF2B5EF4-FFF2-40B4-BE49-F238E27FC236}">
                <a16:creationId xmlns:a16="http://schemas.microsoft.com/office/drawing/2014/main" id="{0E2090B7-7DF0-42CA-A0B6-B21C3B04344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Tree>
    <p:extLst>
      <p:ext uri="{BB962C8B-B14F-4D97-AF65-F5344CB8AC3E}">
        <p14:creationId xmlns:p14="http://schemas.microsoft.com/office/powerpoint/2010/main" val="362866840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 columns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7" name="Content Placeholder 6"/>
          <p:cNvSpPr>
            <a:spLocks noGrp="1"/>
          </p:cNvSpPr>
          <p:nvPr>
            <p:ph sz="quarter" idx="11"/>
          </p:nvPr>
        </p:nvSpPr>
        <p:spPr>
          <a:xfrm>
            <a:off x="539749" y="1620838"/>
            <a:ext cx="5400000" cy="4103687"/>
          </a:xfrm>
        </p:spPr>
        <p:txBody>
          <a:bodyPr/>
          <a:lstStyle>
            <a:lvl2pPr>
              <a:defRPr b="0"/>
            </a:lvl2pPr>
          </a:lstStyle>
          <a:p>
            <a:pPr lvl="0"/>
            <a:r>
              <a:rPr lang="en-US" dirty="0"/>
              <a:t>Click to edit Master text styles</a:t>
            </a:r>
          </a:p>
          <a:p>
            <a:pPr lvl="1"/>
            <a:r>
              <a:rPr lang="en-US" dirty="0"/>
              <a:t>Second level</a:t>
            </a:r>
          </a:p>
          <a:p>
            <a:pPr lvl="2"/>
            <a:r>
              <a:rPr lang="en-US" dirty="0"/>
              <a:t>Third level</a:t>
            </a:r>
          </a:p>
        </p:txBody>
      </p:sp>
      <p:sp>
        <p:nvSpPr>
          <p:cNvPr id="9" name="Content Placeholder 8"/>
          <p:cNvSpPr>
            <a:spLocks noGrp="1"/>
          </p:cNvSpPr>
          <p:nvPr>
            <p:ph sz="quarter" idx="12"/>
          </p:nvPr>
        </p:nvSpPr>
        <p:spPr>
          <a:xfrm>
            <a:off x="6228903" y="1620843"/>
            <a:ext cx="5400600" cy="4103478"/>
          </a:xfrm>
        </p:spPr>
        <p:txBody>
          <a:bodyPr/>
          <a:lstStyle>
            <a:lvl2pPr>
              <a:defRPr b="0"/>
            </a:lvl2pPr>
          </a:lstStyle>
          <a:p>
            <a:pPr lvl="0"/>
            <a:r>
              <a:rPr lang="en-US" dirty="0"/>
              <a:t>Click to edit Master text styles</a:t>
            </a:r>
          </a:p>
          <a:p>
            <a:pPr lvl="1"/>
            <a:r>
              <a:rPr lang="en-US" dirty="0"/>
              <a:t>Second level</a:t>
            </a:r>
          </a:p>
          <a:p>
            <a:pPr lvl="2"/>
            <a:r>
              <a:rPr lang="en-US" dirty="0"/>
              <a:t>Third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522643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540271" y="408236"/>
            <a:ext cx="11089754" cy="635769"/>
          </a:xfrm>
        </p:spPr>
        <p:txBody>
          <a:bodyPr/>
          <a:lstStyle/>
          <a:p>
            <a:r>
              <a:rPr lang="en-US" dirty="0"/>
              <a:t>Click to edit Master title style</a:t>
            </a:r>
            <a:endParaRPr lang="en-GB" dirty="0"/>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7" name="Content Placeholder 6"/>
          <p:cNvSpPr>
            <a:spLocks noGrp="1"/>
          </p:cNvSpPr>
          <p:nvPr>
            <p:ph sz="quarter" idx="11"/>
          </p:nvPr>
        </p:nvSpPr>
        <p:spPr>
          <a:xfrm>
            <a:off x="540271" y="1116013"/>
            <a:ext cx="11089754" cy="4608512"/>
          </a:xfrm>
        </p:spPr>
        <p:txBody>
          <a:bodyPr/>
          <a:lstStyle>
            <a:lvl2pPr>
              <a:defRPr b="0"/>
            </a:lvl2pPr>
          </a:lstStyle>
          <a:p>
            <a:pPr lvl="0"/>
            <a:r>
              <a:rPr lang="en-US" dirty="0"/>
              <a:t>Click to edit Master text styles</a:t>
            </a:r>
          </a:p>
          <a:p>
            <a:pPr lvl="1"/>
            <a:r>
              <a:rPr lang="en-US" dirty="0"/>
              <a:t>Second level</a:t>
            </a:r>
          </a:p>
          <a:p>
            <a:pPr lvl="2"/>
            <a:r>
              <a:rPr lang="en-US" dirty="0"/>
              <a:t>Third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217871025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Fifth element with picture on right side and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CF32B7-67E7-45F9-A962-ADCA304D1371}"/>
              </a:ext>
            </a:extLst>
          </p:cNvPr>
          <p:cNvSpPr>
            <a:spLocks noGrp="1"/>
          </p:cNvSpPr>
          <p:nvPr>
            <p:ph type="title"/>
          </p:nvPr>
        </p:nvSpPr>
        <p:spPr>
          <a:xfrm>
            <a:off x="541099" y="408236"/>
            <a:ext cx="6119852" cy="1139825"/>
          </a:xfrm>
        </p:spPr>
        <p:txBody>
          <a:bodyPr anchor="t" anchorCtr="0"/>
          <a:lstStyle/>
          <a:p>
            <a:r>
              <a:rPr lang="en-US" dirty="0"/>
              <a:t>Click to edit Master title style</a:t>
            </a:r>
            <a:endParaRPr lang="sv-SE" dirty="0"/>
          </a:p>
        </p:txBody>
      </p:sp>
      <p:sp>
        <p:nvSpPr>
          <p:cNvPr id="3" name="Slide Number Placeholder 2">
            <a:extLst>
              <a:ext uri="{FF2B5EF4-FFF2-40B4-BE49-F238E27FC236}">
                <a16:creationId xmlns:a16="http://schemas.microsoft.com/office/drawing/2014/main" id="{D48C233D-E49A-49D2-A1BA-5C27EAC8F9DD}"/>
              </a:ext>
            </a:extLst>
          </p:cNvPr>
          <p:cNvSpPr>
            <a:spLocks noGrp="1"/>
          </p:cNvSpPr>
          <p:nvPr>
            <p:ph type="sldNum" sz="quarter" idx="10"/>
          </p:nvPr>
        </p:nvSpPr>
        <p:spPr/>
        <p:txBody>
          <a:bodyPr/>
          <a:lstStyle/>
          <a:p>
            <a:fld id="{C864BB8D-94B4-466C-94BF-D114C83BF951}" type="slidenum">
              <a:rPr lang="en-GB" smtClean="0"/>
              <a:pPr/>
              <a:t>‹#›</a:t>
            </a:fld>
            <a:endParaRPr lang="en-GB"/>
          </a:p>
        </p:txBody>
      </p:sp>
      <p:sp>
        <p:nvSpPr>
          <p:cNvPr id="4" name="Footer Placeholder 3">
            <a:extLst>
              <a:ext uri="{FF2B5EF4-FFF2-40B4-BE49-F238E27FC236}">
                <a16:creationId xmlns:a16="http://schemas.microsoft.com/office/drawing/2014/main" id="{5EC0407B-0028-4E56-B688-65172DAEDBFA}"/>
              </a:ext>
            </a:extLst>
          </p:cNvPr>
          <p:cNvSpPr>
            <a:spLocks noGrp="1"/>
          </p:cNvSpPr>
          <p:nvPr>
            <p:ph type="ftr" sz="quarter" idx="11"/>
          </p:nvPr>
        </p:nvSpPr>
        <p:spPr/>
        <p:txBody>
          <a:bodyPr/>
          <a:lstStyle/>
          <a:p>
            <a:r>
              <a:rPr lang="en-US"/>
              <a:t>© HL Display 2019 – All rights reserved</a:t>
            </a:r>
            <a:endParaRPr lang="fr-FR" dirty="0"/>
          </a:p>
        </p:txBody>
      </p:sp>
      <p:sp>
        <p:nvSpPr>
          <p:cNvPr id="6" name="Text Placeholder 6">
            <a:extLst>
              <a:ext uri="{FF2B5EF4-FFF2-40B4-BE49-F238E27FC236}">
                <a16:creationId xmlns:a16="http://schemas.microsoft.com/office/drawing/2014/main" id="{EA918214-0631-461A-AA9C-21FACF61B03F}"/>
              </a:ext>
            </a:extLst>
          </p:cNvPr>
          <p:cNvSpPr>
            <a:spLocks noGrp="1"/>
          </p:cNvSpPr>
          <p:nvPr>
            <p:ph type="body" sz="quarter" idx="13"/>
          </p:nvPr>
        </p:nvSpPr>
        <p:spPr>
          <a:xfrm>
            <a:off x="540271" y="1620839"/>
            <a:ext cx="6120700" cy="4319710"/>
          </a:xfrm>
        </p:spPr>
        <p:txBody>
          <a:bodyPr/>
          <a:lstStyle>
            <a:lvl2pPr marL="174625" indent="-174625">
              <a:defRPr b="0"/>
            </a:lvl2pPr>
            <a:lvl3pPr marL="446088" indent="-182563">
              <a:defRPr/>
            </a:lvl3pPr>
          </a:lstStyle>
          <a:p>
            <a:pPr lvl="0"/>
            <a:r>
              <a:rPr lang="en-US" dirty="0"/>
              <a:t>Click to edit Master text styles</a:t>
            </a:r>
          </a:p>
          <a:p>
            <a:pPr lvl="1"/>
            <a:r>
              <a:rPr lang="en-US" dirty="0"/>
              <a:t>Second level</a:t>
            </a:r>
          </a:p>
          <a:p>
            <a:pPr lvl="2"/>
            <a:r>
              <a:rPr lang="en-US" dirty="0"/>
              <a:t>Third level</a:t>
            </a:r>
          </a:p>
        </p:txBody>
      </p:sp>
      <p:sp>
        <p:nvSpPr>
          <p:cNvPr id="13" name="Picture Placeholder 4">
            <a:extLst>
              <a:ext uri="{FF2B5EF4-FFF2-40B4-BE49-F238E27FC236}">
                <a16:creationId xmlns:a16="http://schemas.microsoft.com/office/drawing/2014/main" id="{97031C2C-0CC6-46C0-AD15-7744DFE72B86}"/>
              </a:ext>
            </a:extLst>
          </p:cNvPr>
          <p:cNvSpPr>
            <a:spLocks noGrp="1"/>
          </p:cNvSpPr>
          <p:nvPr>
            <p:ph type="pic" sz="quarter" idx="14"/>
          </p:nvPr>
        </p:nvSpPr>
        <p:spPr>
          <a:xfrm>
            <a:off x="6527148" y="-8021"/>
            <a:ext cx="5644231" cy="6849362"/>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 name="connsiteX0" fmla="*/ 0 w 5610543"/>
              <a:gd name="connsiteY0" fmla="*/ 0 h 6840538"/>
              <a:gd name="connsiteX1" fmla="*/ 5580063 w 5610543"/>
              <a:gd name="connsiteY1" fmla="*/ 0 h 6840538"/>
              <a:gd name="connsiteX2" fmla="*/ 5610543 w 5610543"/>
              <a:gd name="connsiteY2" fmla="*/ 6825299 h 6840538"/>
              <a:gd name="connsiteX3" fmla="*/ 0 w 5610543"/>
              <a:gd name="connsiteY3" fmla="*/ 6840538 h 6840538"/>
              <a:gd name="connsiteX4" fmla="*/ 0 w 5610543"/>
              <a:gd name="connsiteY4" fmla="*/ 0 h 6840538"/>
              <a:gd name="connsiteX0" fmla="*/ 2246811 w 5610543"/>
              <a:gd name="connsiteY0" fmla="*/ 0 h 6840538"/>
              <a:gd name="connsiteX1" fmla="*/ 5580063 w 5610543"/>
              <a:gd name="connsiteY1" fmla="*/ 0 h 6840538"/>
              <a:gd name="connsiteX2" fmla="*/ 5610543 w 5610543"/>
              <a:gd name="connsiteY2" fmla="*/ 6825299 h 6840538"/>
              <a:gd name="connsiteX3" fmla="*/ 0 w 5610543"/>
              <a:gd name="connsiteY3" fmla="*/ 6840538 h 6840538"/>
              <a:gd name="connsiteX4" fmla="*/ 2246811 w 5610543"/>
              <a:gd name="connsiteY4" fmla="*/ 0 h 6840538"/>
              <a:gd name="connsiteX0" fmla="*/ 2246811 w 5612147"/>
              <a:gd name="connsiteY0" fmla="*/ 8021 h 6848559"/>
              <a:gd name="connsiteX1" fmla="*/ 5612147 w 5612147"/>
              <a:gd name="connsiteY1" fmla="*/ 0 h 6848559"/>
              <a:gd name="connsiteX2" fmla="*/ 5610543 w 5612147"/>
              <a:gd name="connsiteY2" fmla="*/ 6833320 h 6848559"/>
              <a:gd name="connsiteX3" fmla="*/ 0 w 5612147"/>
              <a:gd name="connsiteY3" fmla="*/ 6848559 h 6848559"/>
              <a:gd name="connsiteX4" fmla="*/ 2246811 w 5612147"/>
              <a:gd name="connsiteY4" fmla="*/ 8021 h 6848559"/>
              <a:gd name="connsiteX0" fmla="*/ 2246811 w 5612147"/>
              <a:gd name="connsiteY0" fmla="*/ 8021 h 6849362"/>
              <a:gd name="connsiteX1" fmla="*/ 5612147 w 5612147"/>
              <a:gd name="connsiteY1" fmla="*/ 0 h 6849362"/>
              <a:gd name="connsiteX2" fmla="*/ 5610543 w 5612147"/>
              <a:gd name="connsiteY2" fmla="*/ 6849362 h 6849362"/>
              <a:gd name="connsiteX3" fmla="*/ 0 w 5612147"/>
              <a:gd name="connsiteY3" fmla="*/ 6848559 h 6849362"/>
              <a:gd name="connsiteX4" fmla="*/ 2246811 w 5612147"/>
              <a:gd name="connsiteY4" fmla="*/ 8021 h 6849362"/>
              <a:gd name="connsiteX0" fmla="*/ 2278895 w 5644231"/>
              <a:gd name="connsiteY0" fmla="*/ 8021 h 6849362"/>
              <a:gd name="connsiteX1" fmla="*/ 5644231 w 5644231"/>
              <a:gd name="connsiteY1" fmla="*/ 0 h 6849362"/>
              <a:gd name="connsiteX2" fmla="*/ 5642627 w 5644231"/>
              <a:gd name="connsiteY2" fmla="*/ 6849362 h 6849362"/>
              <a:gd name="connsiteX3" fmla="*/ 0 w 5644231"/>
              <a:gd name="connsiteY3" fmla="*/ 6848559 h 6849362"/>
              <a:gd name="connsiteX4" fmla="*/ 2278895 w 5644231"/>
              <a:gd name="connsiteY4" fmla="*/ 8021 h 6849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4231" h="6849362">
                <a:moveTo>
                  <a:pt x="2278895" y="8021"/>
                </a:moveTo>
                <a:lnTo>
                  <a:pt x="5644231" y="0"/>
                </a:lnTo>
                <a:cubicBezTo>
                  <a:pt x="5643696" y="2277773"/>
                  <a:pt x="5643162" y="4571589"/>
                  <a:pt x="5642627" y="6849362"/>
                </a:cubicBezTo>
                <a:lnTo>
                  <a:pt x="0" y="6848559"/>
                </a:lnTo>
                <a:lnTo>
                  <a:pt x="2278895" y="8021"/>
                </a:lnTo>
                <a:close/>
              </a:path>
            </a:pathLst>
          </a:custGeom>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33601691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ull color for 5th element and white bacground">
    <p:spTree>
      <p:nvGrpSpPr>
        <p:cNvPr id="1" name=""/>
        <p:cNvGrpSpPr/>
        <p:nvPr/>
      </p:nvGrpSpPr>
      <p:grpSpPr>
        <a:xfrm>
          <a:off x="0" y="0"/>
          <a:ext cx="0" cy="0"/>
          <a:chOff x="0" y="0"/>
          <a:chExt cx="0" cy="0"/>
        </a:xfrm>
      </p:grpSpPr>
      <p:sp>
        <p:nvSpPr>
          <p:cNvPr id="5" name="Freeform 4"/>
          <p:cNvSpPr/>
          <p:nvPr userDrawn="1"/>
        </p:nvSpPr>
        <p:spPr>
          <a:xfrm>
            <a:off x="-28576" y="1146412"/>
            <a:ext cx="7806519" cy="3712191"/>
          </a:xfrm>
          <a:custGeom>
            <a:avLst/>
            <a:gdLst>
              <a:gd name="connsiteX0" fmla="*/ 0 w 7806519"/>
              <a:gd name="connsiteY0" fmla="*/ 0 h 3712191"/>
              <a:gd name="connsiteX1" fmla="*/ 7806519 w 7806519"/>
              <a:gd name="connsiteY1" fmla="*/ 0 h 3712191"/>
              <a:gd name="connsiteX2" fmla="*/ 6564573 w 7806519"/>
              <a:gd name="connsiteY2" fmla="*/ 3712191 h 3712191"/>
              <a:gd name="connsiteX3" fmla="*/ 13648 w 7806519"/>
              <a:gd name="connsiteY3" fmla="*/ 3712191 h 3712191"/>
              <a:gd name="connsiteX4" fmla="*/ 0 w 7806519"/>
              <a:gd name="connsiteY4" fmla="*/ 0 h 3712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6519" h="3712191">
                <a:moveTo>
                  <a:pt x="0" y="0"/>
                </a:moveTo>
                <a:lnTo>
                  <a:pt x="7806519" y="0"/>
                </a:lnTo>
                <a:lnTo>
                  <a:pt x="6564573" y="3712191"/>
                </a:lnTo>
                <a:lnTo>
                  <a:pt x="13648" y="3712191"/>
                </a:lnTo>
                <a:cubicBezTo>
                  <a:pt x="9099" y="2474794"/>
                  <a:pt x="4549" y="1237397"/>
                  <a:pt x="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972000" y="2772365"/>
            <a:ext cx="5616000" cy="1512000"/>
          </a:xfrm>
          <a:prstGeom prst="rect">
            <a:avLst/>
          </a:prstGeom>
        </p:spPr>
        <p:txBody>
          <a:bodyPr>
            <a:noAutofit/>
          </a:bodyPr>
          <a:lstStyle/>
          <a:p>
            <a:r>
              <a:rPr lang="en-US"/>
              <a:t>Click to edit Master title style</a:t>
            </a:r>
            <a:endParaRPr lang="en-GB" dirty="0"/>
          </a:p>
        </p:txBody>
      </p:sp>
      <p:sp>
        <p:nvSpPr>
          <p:cNvPr id="3" name="Subtitle 2"/>
          <p:cNvSpPr>
            <a:spLocks noGrp="1"/>
          </p:cNvSpPr>
          <p:nvPr>
            <p:ph type="subTitle" idx="1" hasCustomPrompt="1"/>
          </p:nvPr>
        </p:nvSpPr>
        <p:spPr>
          <a:xfrm>
            <a:off x="972000" y="4305600"/>
            <a:ext cx="5616000" cy="410400"/>
          </a:xfrm>
          <a:prstGeom prst="rect">
            <a:avLst/>
          </a:prstGeom>
        </p:spPr>
        <p:txBody>
          <a:bodyPr>
            <a:noAutofit/>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1430" y="1764084"/>
            <a:ext cx="1469814" cy="900000"/>
          </a:xfrm>
          <a:prstGeom prst="rect">
            <a:avLst/>
          </a:prstGeom>
        </p:spPr>
      </p:pic>
      <p:sp>
        <p:nvSpPr>
          <p:cNvPr id="9" name="Slide Number Placeholder 5"/>
          <p:cNvSpPr>
            <a:spLocks noGrp="1"/>
          </p:cNvSpPr>
          <p:nvPr>
            <p:ph type="sldNum" sz="quarter" idx="12"/>
          </p:nvPr>
        </p:nvSpPr>
        <p:spPr>
          <a:xfrm>
            <a:off x="468263" y="6369099"/>
            <a:ext cx="504056" cy="363538"/>
          </a:xfrm>
        </p:spPr>
        <p:txBody>
          <a:bodyPr/>
          <a:lstStyle>
            <a:lvl1pPr>
              <a:defRPr>
                <a:solidFill>
                  <a:schemeClr val="bg1"/>
                </a:solidFill>
              </a:defRPr>
            </a:lvl1pPr>
          </a:lstStyle>
          <a:p>
            <a:fld id="{C864BB8D-94B4-466C-94BF-D114C83BF951}" type="slidenum">
              <a:rPr lang="en-GB" smtClean="0"/>
              <a:pPr/>
              <a:t>‹#›</a:t>
            </a:fld>
            <a:endParaRPr lang="en-GB" dirty="0"/>
          </a:p>
        </p:txBody>
      </p:sp>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8 – All rights reserved</a:t>
            </a:r>
            <a:endParaRPr lang="fr-FR" dirty="0"/>
          </a:p>
        </p:txBody>
      </p:sp>
    </p:spTree>
    <p:extLst>
      <p:ext uri="{BB962C8B-B14F-4D97-AF65-F5344CB8AC3E}">
        <p14:creationId xmlns:p14="http://schemas.microsoft.com/office/powerpoint/2010/main" val="222522045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Fifth element with picture on left side with white background">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5580063" cy="6840538"/>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 name="connsiteX0" fmla="*/ 0 w 5580063"/>
              <a:gd name="connsiteY0" fmla="*/ 0 h 6840538"/>
              <a:gd name="connsiteX1" fmla="*/ 5580063 w 5580063"/>
              <a:gd name="connsiteY1" fmla="*/ 0 h 6840538"/>
              <a:gd name="connsiteX2" fmla="*/ 3314689 w 5580063"/>
              <a:gd name="connsiteY2" fmla="*/ 6827361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298647 w 5580063"/>
              <a:gd name="connsiteY2" fmla="*/ 581670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298647 w 5580063"/>
              <a:gd name="connsiteY2" fmla="*/ 6835382 h 6840538"/>
              <a:gd name="connsiteX3" fmla="*/ 0 w 5580063"/>
              <a:gd name="connsiteY3" fmla="*/ 6840538 h 6840538"/>
              <a:gd name="connsiteX4" fmla="*/ 0 w 5580063"/>
              <a:gd name="connsiteY4" fmla="*/ 0 h 684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40538">
                <a:moveTo>
                  <a:pt x="0" y="0"/>
                </a:moveTo>
                <a:lnTo>
                  <a:pt x="5580063" y="0"/>
                </a:lnTo>
                <a:lnTo>
                  <a:pt x="3298647" y="6835382"/>
                </a:lnTo>
                <a:lnTo>
                  <a:pt x="0" y="6840538"/>
                </a:lnTo>
                <a:lnTo>
                  <a:pt x="0" y="0"/>
                </a:lnTo>
                <a:close/>
              </a:path>
            </a:pathLst>
          </a:custGeom>
        </p:spPr>
        <p:txBody>
          <a:bodyPr/>
          <a:lstStyle/>
          <a:p>
            <a:endParaRPr lang="en-GB" dirty="0"/>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8" name="Title 1">
            <a:extLst>
              <a:ext uri="{FF2B5EF4-FFF2-40B4-BE49-F238E27FC236}">
                <a16:creationId xmlns:a16="http://schemas.microsoft.com/office/drawing/2014/main" id="{C8BB1FAE-292E-4157-8976-7FE70CE00F3C}"/>
              </a:ext>
            </a:extLst>
          </p:cNvPr>
          <p:cNvSpPr>
            <a:spLocks noGrp="1"/>
          </p:cNvSpPr>
          <p:nvPr>
            <p:ph type="title"/>
          </p:nvPr>
        </p:nvSpPr>
        <p:spPr>
          <a:xfrm>
            <a:off x="5607315" y="395933"/>
            <a:ext cx="6022188" cy="1139825"/>
          </a:xfrm>
        </p:spPr>
        <p:txBody>
          <a:bodyPr anchor="t" anchorCtr="0"/>
          <a:lstStyle/>
          <a:p>
            <a:r>
              <a:rPr lang="en-US" dirty="0"/>
              <a:t>Click to edit Master title style</a:t>
            </a:r>
            <a:endParaRPr lang="sv-SE" dirty="0"/>
          </a:p>
        </p:txBody>
      </p:sp>
      <p:sp>
        <p:nvSpPr>
          <p:cNvPr id="9" name="Text Placeholder 6">
            <a:extLst>
              <a:ext uri="{FF2B5EF4-FFF2-40B4-BE49-F238E27FC236}">
                <a16:creationId xmlns:a16="http://schemas.microsoft.com/office/drawing/2014/main" id="{9A537318-C454-4000-AF34-50B2B34EEB8A}"/>
              </a:ext>
            </a:extLst>
          </p:cNvPr>
          <p:cNvSpPr>
            <a:spLocks noGrp="1"/>
          </p:cNvSpPr>
          <p:nvPr>
            <p:ph type="body" sz="quarter" idx="13"/>
          </p:nvPr>
        </p:nvSpPr>
        <p:spPr>
          <a:xfrm>
            <a:off x="5609101" y="1620838"/>
            <a:ext cx="6020401" cy="4103687"/>
          </a:xfrm>
        </p:spPr>
        <p:txBody>
          <a:bodyPr/>
          <a:lstStyle>
            <a:lvl1pPr>
              <a:defRPr>
                <a:solidFill>
                  <a:schemeClr val="accent4"/>
                </a:solidFill>
              </a:defRPr>
            </a:lvl1pPr>
            <a:lvl2pPr marL="174625" indent="-174625">
              <a:defRPr b="0">
                <a:solidFill>
                  <a:schemeClr val="accent4"/>
                </a:solidFill>
              </a:defRPr>
            </a:lvl2pPr>
            <a:lvl3pPr marL="446088" indent="-182563">
              <a:defRPr>
                <a:solidFill>
                  <a:schemeClr val="accent4"/>
                </a:solidFill>
              </a:defRPr>
            </a:lvl3pPr>
          </a:lstStyle>
          <a:p>
            <a:pPr lvl="0"/>
            <a:r>
              <a:rPr lang="en-US" dirty="0"/>
              <a:t>Click to edit Master text styles</a:t>
            </a:r>
          </a:p>
          <a:p>
            <a:pPr lvl="1"/>
            <a:r>
              <a:rPr lang="en-US" dirty="0"/>
              <a:t>Second level</a:t>
            </a:r>
          </a:p>
          <a:p>
            <a:pPr lvl="2"/>
            <a:r>
              <a:rPr lang="en-US" dirty="0"/>
              <a:t>Third level</a:t>
            </a:r>
          </a:p>
        </p:txBody>
      </p:sp>
      <p:sp>
        <p:nvSpPr>
          <p:cNvPr id="11" name="Slide Number Placeholder 5">
            <a:extLst>
              <a:ext uri="{FF2B5EF4-FFF2-40B4-BE49-F238E27FC236}">
                <a16:creationId xmlns:a16="http://schemas.microsoft.com/office/drawing/2014/main" id="{68058425-CE1E-4614-9BA2-469816F85DE2}"/>
              </a:ext>
            </a:extLst>
          </p:cNvPr>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rtl="0" fontAlgn="base">
              <a:spcBef>
                <a:spcPct val="0"/>
              </a:spcBef>
              <a:spcAft>
                <a:spcPct val="0"/>
              </a:spcAft>
              <a:defRPr lang="en-GB" sz="1000" kern="1200" smtClean="0">
                <a:solidFill>
                  <a:schemeClr val="bg1"/>
                </a:solidFill>
                <a:latin typeface="Arial" pitchFamily="34" charset="0"/>
                <a:ea typeface="+mn-ea"/>
                <a:cs typeface="Arial" pitchFamily="34" charset="0"/>
              </a:defRPr>
            </a:lvl1pPr>
          </a:lstStyle>
          <a:p>
            <a:fld id="{C864BB8D-94B4-466C-94BF-D114C83BF951}" type="slidenum">
              <a:rPr lang="sv-SE" smtClean="0"/>
              <a:pPr/>
              <a:t>‹#›</a:t>
            </a:fld>
            <a:endParaRPr lang="sv-SE" dirty="0"/>
          </a:p>
        </p:txBody>
      </p:sp>
      <p:sp>
        <p:nvSpPr>
          <p:cNvPr id="12" name="Footer Placeholder 3">
            <a:extLst>
              <a:ext uri="{FF2B5EF4-FFF2-40B4-BE49-F238E27FC236}">
                <a16:creationId xmlns:a16="http://schemas.microsoft.com/office/drawing/2014/main" id="{F4E754B6-AB21-4195-B464-531BCF6DB10D}"/>
              </a:ext>
            </a:extLst>
          </p:cNvPr>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230341227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lose ups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fr-FR" dirty="0"/>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4" name="Picture Placeholder 4"/>
          <p:cNvSpPr>
            <a:spLocks noGrp="1"/>
          </p:cNvSpPr>
          <p:nvPr>
            <p:ph type="pic" sz="quarter" idx="12"/>
          </p:nvPr>
        </p:nvSpPr>
        <p:spPr>
          <a:xfrm>
            <a:off x="4288248" y="1680210"/>
            <a:ext cx="3599871" cy="3180218"/>
          </a:xfrm>
        </p:spPr>
        <p:txBody>
          <a:bodyPr/>
          <a:lstStyle/>
          <a:p>
            <a:endParaRPr lang="fr-FR"/>
          </a:p>
        </p:txBody>
      </p:sp>
      <p:sp>
        <p:nvSpPr>
          <p:cNvPr id="5" name="Picture Placeholder 4"/>
          <p:cNvSpPr>
            <a:spLocks noGrp="1"/>
          </p:cNvSpPr>
          <p:nvPr>
            <p:ph type="pic" sz="quarter" idx="13"/>
          </p:nvPr>
        </p:nvSpPr>
        <p:spPr>
          <a:xfrm>
            <a:off x="8030153" y="1680210"/>
            <a:ext cx="3599871" cy="3180218"/>
          </a:xfrm>
        </p:spPr>
        <p:txBody>
          <a:bodyPr/>
          <a:lstStyle/>
          <a:p>
            <a:endParaRPr lang="fr-FR" dirty="0"/>
          </a:p>
        </p:txBody>
      </p:sp>
      <p:sp>
        <p:nvSpPr>
          <p:cNvPr id="6" name="Text Placeholder 15"/>
          <p:cNvSpPr>
            <a:spLocks noGrp="1"/>
          </p:cNvSpPr>
          <p:nvPr>
            <p:ph type="body" sz="quarter" idx="17"/>
          </p:nvPr>
        </p:nvSpPr>
        <p:spPr>
          <a:xfrm>
            <a:off x="539750" y="5076230"/>
            <a:ext cx="3583772" cy="360263"/>
          </a:xfrm>
        </p:spPr>
        <p:txBody>
          <a:bodyPr>
            <a:noAutofit/>
          </a:bodyPr>
          <a:lstStyle>
            <a:lvl1pPr>
              <a:defRPr sz="1600"/>
            </a:lvl1pPr>
          </a:lstStyle>
          <a:p>
            <a:pPr lvl="0"/>
            <a:r>
              <a:rPr lang="en-US" dirty="0"/>
              <a:t>Edit Master text styles</a:t>
            </a:r>
          </a:p>
        </p:txBody>
      </p:sp>
      <p:sp>
        <p:nvSpPr>
          <p:cNvPr id="7" name="Text Placeholder 15"/>
          <p:cNvSpPr>
            <a:spLocks noGrp="1"/>
          </p:cNvSpPr>
          <p:nvPr>
            <p:ph type="body" sz="quarter" idx="18"/>
          </p:nvPr>
        </p:nvSpPr>
        <p:spPr>
          <a:xfrm>
            <a:off x="4288249" y="5076230"/>
            <a:ext cx="3599870" cy="360263"/>
          </a:xfrm>
        </p:spPr>
        <p:txBody>
          <a:bodyPr>
            <a:noAutofit/>
          </a:bodyPr>
          <a:lstStyle>
            <a:lvl1pPr>
              <a:defRPr sz="1600"/>
            </a:lvl1pPr>
          </a:lstStyle>
          <a:p>
            <a:pPr lvl="0"/>
            <a:r>
              <a:rPr lang="en-US" dirty="0"/>
              <a:t>Edit Master text styles</a:t>
            </a:r>
          </a:p>
        </p:txBody>
      </p:sp>
      <p:sp>
        <p:nvSpPr>
          <p:cNvPr id="8" name="Text Placeholder 15"/>
          <p:cNvSpPr>
            <a:spLocks noGrp="1"/>
          </p:cNvSpPr>
          <p:nvPr>
            <p:ph type="body" sz="quarter" idx="19"/>
          </p:nvPr>
        </p:nvSpPr>
        <p:spPr>
          <a:xfrm>
            <a:off x="8030153" y="5076230"/>
            <a:ext cx="3599872" cy="360263"/>
          </a:xfrm>
        </p:spPr>
        <p:txBody>
          <a:bodyPr>
            <a:noAutofit/>
          </a:bodyPr>
          <a:lstStyle>
            <a:lvl1pPr>
              <a:defRPr sz="1600"/>
            </a:lvl1pPr>
          </a:lstStyle>
          <a:p>
            <a:pPr lvl="0"/>
            <a:r>
              <a:rPr lang="en-US" dirty="0"/>
              <a:t>Edit Master text styles</a:t>
            </a:r>
          </a:p>
        </p:txBody>
      </p:sp>
      <p:sp>
        <p:nvSpPr>
          <p:cNvPr id="9" name="Picture Placeholder 28"/>
          <p:cNvSpPr>
            <a:spLocks noGrp="1"/>
          </p:cNvSpPr>
          <p:nvPr>
            <p:ph type="pic" sz="quarter" idx="20"/>
          </p:nvPr>
        </p:nvSpPr>
        <p:spPr>
          <a:xfrm>
            <a:off x="562442" y="1683112"/>
            <a:ext cx="3583772" cy="3177316"/>
          </a:xfrm>
          <a:custGeom>
            <a:avLst/>
            <a:gdLst>
              <a:gd name="connsiteX0" fmla="*/ 0 w 3444875"/>
              <a:gd name="connsiteY0" fmla="*/ 3149699 h 3149699"/>
              <a:gd name="connsiteX1" fmla="*/ 787425 w 3444875"/>
              <a:gd name="connsiteY1" fmla="*/ 0 h 3149699"/>
              <a:gd name="connsiteX2" fmla="*/ 3444875 w 3444875"/>
              <a:gd name="connsiteY2" fmla="*/ 0 h 3149699"/>
              <a:gd name="connsiteX3" fmla="*/ 2657450 w 3444875"/>
              <a:gd name="connsiteY3" fmla="*/ 3149699 h 3149699"/>
              <a:gd name="connsiteX4" fmla="*/ 0 w 3444875"/>
              <a:gd name="connsiteY4" fmla="*/ 3149699 h 3149699"/>
              <a:gd name="connsiteX0" fmla="*/ 0 w 3444875"/>
              <a:gd name="connsiteY0" fmla="*/ 3149699 h 3161274"/>
              <a:gd name="connsiteX1" fmla="*/ 787425 w 3444875"/>
              <a:gd name="connsiteY1" fmla="*/ 0 h 3161274"/>
              <a:gd name="connsiteX2" fmla="*/ 3444875 w 3444875"/>
              <a:gd name="connsiteY2" fmla="*/ 0 h 3161274"/>
              <a:gd name="connsiteX3" fmla="*/ 3375081 w 3444875"/>
              <a:gd name="connsiteY3" fmla="*/ 3161274 h 3161274"/>
              <a:gd name="connsiteX4" fmla="*/ 0 w 3444875"/>
              <a:gd name="connsiteY4" fmla="*/ 3149699 h 3161274"/>
              <a:gd name="connsiteX0" fmla="*/ 0 w 3444875"/>
              <a:gd name="connsiteY0" fmla="*/ 3149699 h 3161274"/>
              <a:gd name="connsiteX1" fmla="*/ 787425 w 3444875"/>
              <a:gd name="connsiteY1" fmla="*/ 0 h 3161274"/>
              <a:gd name="connsiteX2" fmla="*/ 3444875 w 3444875"/>
              <a:gd name="connsiteY2" fmla="*/ 0 h 3161274"/>
              <a:gd name="connsiteX3" fmla="*/ 3432955 w 3444875"/>
              <a:gd name="connsiteY3" fmla="*/ 3161274 h 3161274"/>
              <a:gd name="connsiteX4" fmla="*/ 0 w 3444875"/>
              <a:gd name="connsiteY4" fmla="*/ 3149699 h 3161274"/>
              <a:gd name="connsiteX0" fmla="*/ 0 w 3583772"/>
              <a:gd name="connsiteY0" fmla="*/ 3161274 h 3161274"/>
              <a:gd name="connsiteX1" fmla="*/ 926322 w 3583772"/>
              <a:gd name="connsiteY1" fmla="*/ 0 h 3161274"/>
              <a:gd name="connsiteX2" fmla="*/ 3583772 w 3583772"/>
              <a:gd name="connsiteY2" fmla="*/ 0 h 3161274"/>
              <a:gd name="connsiteX3" fmla="*/ 3571852 w 3583772"/>
              <a:gd name="connsiteY3" fmla="*/ 3161274 h 3161274"/>
              <a:gd name="connsiteX4" fmla="*/ 0 w 3583772"/>
              <a:gd name="connsiteY4" fmla="*/ 3161274 h 3161274"/>
              <a:gd name="connsiteX0" fmla="*/ 0 w 3583772"/>
              <a:gd name="connsiteY0" fmla="*/ 3161274 h 3161274"/>
              <a:gd name="connsiteX1" fmla="*/ 1030596 w 3583772"/>
              <a:gd name="connsiteY1" fmla="*/ 0 h 3161274"/>
              <a:gd name="connsiteX2" fmla="*/ 3583772 w 3583772"/>
              <a:gd name="connsiteY2" fmla="*/ 0 h 3161274"/>
              <a:gd name="connsiteX3" fmla="*/ 3571852 w 3583772"/>
              <a:gd name="connsiteY3" fmla="*/ 3161274 h 3161274"/>
              <a:gd name="connsiteX4" fmla="*/ 0 w 3583772"/>
              <a:gd name="connsiteY4" fmla="*/ 3161274 h 3161274"/>
              <a:gd name="connsiteX0" fmla="*/ 0 w 3583772"/>
              <a:gd name="connsiteY0" fmla="*/ 3177316 h 3177316"/>
              <a:gd name="connsiteX1" fmla="*/ 1062680 w 3583772"/>
              <a:gd name="connsiteY1" fmla="*/ 0 h 3177316"/>
              <a:gd name="connsiteX2" fmla="*/ 3583772 w 3583772"/>
              <a:gd name="connsiteY2" fmla="*/ 16042 h 3177316"/>
              <a:gd name="connsiteX3" fmla="*/ 3571852 w 3583772"/>
              <a:gd name="connsiteY3" fmla="*/ 3177316 h 3177316"/>
              <a:gd name="connsiteX4" fmla="*/ 0 w 3583772"/>
              <a:gd name="connsiteY4" fmla="*/ 3177316 h 3177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3772" h="3177316">
                <a:moveTo>
                  <a:pt x="0" y="3177316"/>
                </a:moveTo>
                <a:lnTo>
                  <a:pt x="1062680" y="0"/>
                </a:lnTo>
                <a:lnTo>
                  <a:pt x="3583772" y="16042"/>
                </a:lnTo>
                <a:cubicBezTo>
                  <a:pt x="3579799" y="1069800"/>
                  <a:pt x="3575825" y="2123558"/>
                  <a:pt x="3571852" y="3177316"/>
                </a:cubicBezTo>
                <a:lnTo>
                  <a:pt x="0" y="3177316"/>
                </a:lnTo>
                <a:close/>
              </a:path>
            </a:pathLst>
          </a:custGeom>
          <a:noFill/>
        </p:spPr>
        <p:txBody>
          <a:bodyPr/>
          <a:lstStyle/>
          <a:p>
            <a:endParaRPr lang="fr-FR" dirty="0"/>
          </a:p>
        </p:txBody>
      </p:sp>
      <p:sp>
        <p:nvSpPr>
          <p:cNvPr id="11"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pic>
        <p:nvPicPr>
          <p:cNvPr id="12" name="Picture 11">
            <a:extLst>
              <a:ext uri="{FF2B5EF4-FFF2-40B4-BE49-F238E27FC236}">
                <a16:creationId xmlns:a16="http://schemas.microsoft.com/office/drawing/2014/main" id="{7265A276-E0C9-41CF-9573-D3228C6D698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Tree>
    <p:extLst>
      <p:ext uri="{BB962C8B-B14F-4D97-AF65-F5344CB8AC3E}">
        <p14:creationId xmlns:p14="http://schemas.microsoft.com/office/powerpoint/2010/main" val="335852337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hapter pa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0165" y="1908101"/>
            <a:ext cx="10589444" cy="995809"/>
          </a:xfrm>
        </p:spPr>
        <p:txBody>
          <a:bodyPr>
            <a:noAutofit/>
          </a:bodyPr>
          <a:lstStyle>
            <a:lvl1pPr algn="ctr">
              <a:defRPr sz="4000">
                <a:solidFill>
                  <a:schemeClr val="bg2"/>
                </a:solidFill>
              </a:defRPr>
            </a:lvl1pPr>
          </a:lstStyle>
          <a:p>
            <a:r>
              <a:rPr lang="en-US" dirty="0"/>
              <a:t>Click to edit Master title style</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
        <p:nvSpPr>
          <p:cNvPr id="7"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352044917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ue fifth element with picture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8B57492-A1DF-4E96-AC19-E82F25ADCE3D}"/>
              </a:ext>
            </a:extLst>
          </p:cNvPr>
          <p:cNvSpPr/>
          <p:nvPr userDrawn="1"/>
        </p:nvSpPr>
        <p:spPr>
          <a:xfrm>
            <a:off x="-14939" y="-9627"/>
            <a:ext cx="6099827" cy="6853029"/>
          </a:xfrm>
          <a:custGeom>
            <a:avLst/>
            <a:gdLst>
              <a:gd name="connsiteX0" fmla="*/ 0 w 5580063"/>
              <a:gd name="connsiteY0" fmla="*/ 0 h 6851424"/>
              <a:gd name="connsiteX1" fmla="*/ 5580063 w 5580063"/>
              <a:gd name="connsiteY1" fmla="*/ 0 h 6851424"/>
              <a:gd name="connsiteX2" fmla="*/ 5580063 w 5580063"/>
              <a:gd name="connsiteY2" fmla="*/ 6851424 h 6851424"/>
              <a:gd name="connsiteX3" fmla="*/ 0 w 5580063"/>
              <a:gd name="connsiteY3" fmla="*/ 6851424 h 6851424"/>
              <a:gd name="connsiteX4" fmla="*/ 0 w 5580063"/>
              <a:gd name="connsiteY4" fmla="*/ 0 h 6851424"/>
              <a:gd name="connsiteX0" fmla="*/ 0 w 5580063"/>
              <a:gd name="connsiteY0" fmla="*/ 0 h 6861934"/>
              <a:gd name="connsiteX1" fmla="*/ 5580063 w 5580063"/>
              <a:gd name="connsiteY1" fmla="*/ 0 h 6861934"/>
              <a:gd name="connsiteX2" fmla="*/ 3898408 w 5580063"/>
              <a:gd name="connsiteY2" fmla="*/ 6861934 h 6861934"/>
              <a:gd name="connsiteX3" fmla="*/ 0 w 5580063"/>
              <a:gd name="connsiteY3" fmla="*/ 6851424 h 6861934"/>
              <a:gd name="connsiteX4" fmla="*/ 0 w 5580063"/>
              <a:gd name="connsiteY4" fmla="*/ 0 h 6861934"/>
              <a:gd name="connsiteX0" fmla="*/ 0 w 5580063"/>
              <a:gd name="connsiteY0" fmla="*/ 0 h 6851424"/>
              <a:gd name="connsiteX1" fmla="*/ 5580063 w 5580063"/>
              <a:gd name="connsiteY1" fmla="*/ 0 h 6851424"/>
              <a:gd name="connsiteX2" fmla="*/ 3057580 w 5580063"/>
              <a:gd name="connsiteY2" fmla="*/ 6851424 h 6851424"/>
              <a:gd name="connsiteX3" fmla="*/ 0 w 5580063"/>
              <a:gd name="connsiteY3" fmla="*/ 6851424 h 6851424"/>
              <a:gd name="connsiteX4" fmla="*/ 0 w 5580063"/>
              <a:gd name="connsiteY4" fmla="*/ 0 h 6851424"/>
              <a:gd name="connsiteX0" fmla="*/ 0 w 5580063"/>
              <a:gd name="connsiteY0" fmla="*/ 0 h 6851424"/>
              <a:gd name="connsiteX1" fmla="*/ 5580063 w 5580063"/>
              <a:gd name="connsiteY1" fmla="*/ 0 h 6851424"/>
              <a:gd name="connsiteX2" fmla="*/ 3404422 w 5580063"/>
              <a:gd name="connsiteY2" fmla="*/ 6851424 h 6851424"/>
              <a:gd name="connsiteX3" fmla="*/ 0 w 5580063"/>
              <a:gd name="connsiteY3" fmla="*/ 6851424 h 6851424"/>
              <a:gd name="connsiteX4" fmla="*/ 0 w 5580063"/>
              <a:gd name="connsiteY4" fmla="*/ 0 h 6851424"/>
              <a:gd name="connsiteX0" fmla="*/ 0 w 5580063"/>
              <a:gd name="connsiteY0" fmla="*/ 0 h 6851424"/>
              <a:gd name="connsiteX1" fmla="*/ 5580063 w 5580063"/>
              <a:gd name="connsiteY1" fmla="*/ 0 h 6851424"/>
              <a:gd name="connsiteX2" fmla="*/ 3300149 w 5580063"/>
              <a:gd name="connsiteY2" fmla="*/ 6835382 h 6851424"/>
              <a:gd name="connsiteX3" fmla="*/ 0 w 5580063"/>
              <a:gd name="connsiteY3" fmla="*/ 6851424 h 6851424"/>
              <a:gd name="connsiteX4" fmla="*/ 0 w 5580063"/>
              <a:gd name="connsiteY4" fmla="*/ 0 h 6851424"/>
              <a:gd name="connsiteX0" fmla="*/ 0 w 5580063"/>
              <a:gd name="connsiteY0" fmla="*/ 0 h 6851424"/>
              <a:gd name="connsiteX1" fmla="*/ 5580063 w 5580063"/>
              <a:gd name="connsiteY1" fmla="*/ 0 h 6851424"/>
              <a:gd name="connsiteX2" fmla="*/ 3300149 w 5580063"/>
              <a:gd name="connsiteY2" fmla="*/ 6843403 h 6851424"/>
              <a:gd name="connsiteX3" fmla="*/ 0 w 5580063"/>
              <a:gd name="connsiteY3" fmla="*/ 6851424 h 6851424"/>
              <a:gd name="connsiteX4" fmla="*/ 0 w 5580063"/>
              <a:gd name="connsiteY4" fmla="*/ 0 h 6851424"/>
              <a:gd name="connsiteX0" fmla="*/ 0 w 5580063"/>
              <a:gd name="connsiteY0" fmla="*/ 0 h 7108098"/>
              <a:gd name="connsiteX1" fmla="*/ 5580063 w 5580063"/>
              <a:gd name="connsiteY1" fmla="*/ 0 h 7108098"/>
              <a:gd name="connsiteX2" fmla="*/ 2714612 w 5580063"/>
              <a:gd name="connsiteY2" fmla="*/ 7108098 h 7108098"/>
              <a:gd name="connsiteX3" fmla="*/ 0 w 5580063"/>
              <a:gd name="connsiteY3" fmla="*/ 6851424 h 7108098"/>
              <a:gd name="connsiteX4" fmla="*/ 0 w 5580063"/>
              <a:gd name="connsiteY4" fmla="*/ 0 h 7108098"/>
              <a:gd name="connsiteX0" fmla="*/ 0 w 5580063"/>
              <a:gd name="connsiteY0" fmla="*/ 0 h 6851424"/>
              <a:gd name="connsiteX1" fmla="*/ 5580063 w 5580063"/>
              <a:gd name="connsiteY1" fmla="*/ 0 h 6851424"/>
              <a:gd name="connsiteX2" fmla="*/ 3300149 w 5580063"/>
              <a:gd name="connsiteY2" fmla="*/ 6843403 h 6851424"/>
              <a:gd name="connsiteX3" fmla="*/ 0 w 5580063"/>
              <a:gd name="connsiteY3" fmla="*/ 6851424 h 6851424"/>
              <a:gd name="connsiteX4" fmla="*/ 0 w 5580063"/>
              <a:gd name="connsiteY4" fmla="*/ 0 h 6851424"/>
              <a:gd name="connsiteX0" fmla="*/ 0 w 5734067"/>
              <a:gd name="connsiteY0" fmla="*/ 0 h 6861050"/>
              <a:gd name="connsiteX1" fmla="*/ 5734067 w 5734067"/>
              <a:gd name="connsiteY1" fmla="*/ 9626 h 6861050"/>
              <a:gd name="connsiteX2" fmla="*/ 3454153 w 5734067"/>
              <a:gd name="connsiteY2" fmla="*/ 6853029 h 6861050"/>
              <a:gd name="connsiteX3" fmla="*/ 154004 w 5734067"/>
              <a:gd name="connsiteY3" fmla="*/ 6861050 h 6861050"/>
              <a:gd name="connsiteX4" fmla="*/ 0 w 5734067"/>
              <a:gd name="connsiteY4" fmla="*/ 0 h 6861050"/>
              <a:gd name="connsiteX0" fmla="*/ 0 w 5734067"/>
              <a:gd name="connsiteY0" fmla="*/ 0 h 6861050"/>
              <a:gd name="connsiteX1" fmla="*/ 5734067 w 5734067"/>
              <a:gd name="connsiteY1" fmla="*/ 9626 h 6861050"/>
              <a:gd name="connsiteX2" fmla="*/ 3454153 w 5734067"/>
              <a:gd name="connsiteY2" fmla="*/ 6853029 h 6861050"/>
              <a:gd name="connsiteX3" fmla="*/ 0 w 5734067"/>
              <a:gd name="connsiteY3" fmla="*/ 6861050 h 6861050"/>
              <a:gd name="connsiteX4" fmla="*/ 0 w 5734067"/>
              <a:gd name="connsiteY4" fmla="*/ 0 h 6861050"/>
              <a:gd name="connsiteX0" fmla="*/ 0 w 5734067"/>
              <a:gd name="connsiteY0" fmla="*/ 0 h 6853029"/>
              <a:gd name="connsiteX1" fmla="*/ 5734067 w 5734067"/>
              <a:gd name="connsiteY1" fmla="*/ 9626 h 6853029"/>
              <a:gd name="connsiteX2" fmla="*/ 3454153 w 5734067"/>
              <a:gd name="connsiteY2" fmla="*/ 6853029 h 6853029"/>
              <a:gd name="connsiteX3" fmla="*/ 298383 w 5734067"/>
              <a:gd name="connsiteY3" fmla="*/ 6466414 h 6853029"/>
              <a:gd name="connsiteX4" fmla="*/ 0 w 5734067"/>
              <a:gd name="connsiteY4" fmla="*/ 0 h 6853029"/>
              <a:gd name="connsiteX0" fmla="*/ 0 w 5734067"/>
              <a:gd name="connsiteY0" fmla="*/ 0 h 6853029"/>
              <a:gd name="connsiteX1" fmla="*/ 5734067 w 5734067"/>
              <a:gd name="connsiteY1" fmla="*/ 9626 h 6853029"/>
              <a:gd name="connsiteX2" fmla="*/ 3454153 w 5734067"/>
              <a:gd name="connsiteY2" fmla="*/ 6853029 h 6853029"/>
              <a:gd name="connsiteX3" fmla="*/ 9625 w 5734067"/>
              <a:gd name="connsiteY3" fmla="*/ 6851425 h 6853029"/>
              <a:gd name="connsiteX4" fmla="*/ 0 w 5734067"/>
              <a:gd name="connsiteY4" fmla="*/ 0 h 6853029"/>
              <a:gd name="connsiteX0" fmla="*/ 0 w 6099827"/>
              <a:gd name="connsiteY0" fmla="*/ 0 h 6853029"/>
              <a:gd name="connsiteX1" fmla="*/ 6099827 w 6099827"/>
              <a:gd name="connsiteY1" fmla="*/ 9626 h 6853029"/>
              <a:gd name="connsiteX2" fmla="*/ 3819913 w 6099827"/>
              <a:gd name="connsiteY2" fmla="*/ 6853029 h 6853029"/>
              <a:gd name="connsiteX3" fmla="*/ 375385 w 6099827"/>
              <a:gd name="connsiteY3" fmla="*/ 6851425 h 6853029"/>
              <a:gd name="connsiteX4" fmla="*/ 0 w 6099827"/>
              <a:gd name="connsiteY4" fmla="*/ 0 h 6853029"/>
              <a:gd name="connsiteX0" fmla="*/ 0 w 6099827"/>
              <a:gd name="connsiteY0" fmla="*/ 0 h 6853029"/>
              <a:gd name="connsiteX1" fmla="*/ 6099827 w 6099827"/>
              <a:gd name="connsiteY1" fmla="*/ 9626 h 6853029"/>
              <a:gd name="connsiteX2" fmla="*/ 3819913 w 6099827"/>
              <a:gd name="connsiteY2" fmla="*/ 6853029 h 6853029"/>
              <a:gd name="connsiteX3" fmla="*/ 9625 w 6099827"/>
              <a:gd name="connsiteY3" fmla="*/ 6841799 h 6853029"/>
              <a:gd name="connsiteX4" fmla="*/ 0 w 6099827"/>
              <a:gd name="connsiteY4" fmla="*/ 0 h 6853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827" h="6853029">
                <a:moveTo>
                  <a:pt x="0" y="0"/>
                </a:moveTo>
                <a:lnTo>
                  <a:pt x="6099827" y="9626"/>
                </a:lnTo>
                <a:lnTo>
                  <a:pt x="3819913" y="6853029"/>
                </a:lnTo>
                <a:lnTo>
                  <a:pt x="9625" y="6841799"/>
                </a:lnTo>
                <a:cubicBezTo>
                  <a:pt x="6417" y="4557991"/>
                  <a:pt x="3208" y="2283808"/>
                  <a:pt x="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9" name="Picture 8">
            <a:extLst>
              <a:ext uri="{FF2B5EF4-FFF2-40B4-BE49-F238E27FC236}">
                <a16:creationId xmlns:a16="http://schemas.microsoft.com/office/drawing/2014/main" id="{8793E735-61BB-4E89-AE53-0D73BFF0209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12" name="Title 1">
            <a:extLst>
              <a:ext uri="{FF2B5EF4-FFF2-40B4-BE49-F238E27FC236}">
                <a16:creationId xmlns:a16="http://schemas.microsoft.com/office/drawing/2014/main" id="{324132B0-42DE-4393-87CC-00E1B0AD21EF}"/>
              </a:ext>
            </a:extLst>
          </p:cNvPr>
          <p:cNvSpPr>
            <a:spLocks noGrp="1"/>
          </p:cNvSpPr>
          <p:nvPr>
            <p:ph type="title"/>
          </p:nvPr>
        </p:nvSpPr>
        <p:spPr>
          <a:xfrm>
            <a:off x="539750" y="399362"/>
            <a:ext cx="4248993" cy="1139825"/>
          </a:xfrm>
        </p:spPr>
        <p:txBody>
          <a:bodyPr/>
          <a:lstStyle>
            <a:lvl1pPr>
              <a:defRPr>
                <a:solidFill>
                  <a:schemeClr val="bg2"/>
                </a:solidFill>
              </a:defRPr>
            </a:lvl1pPr>
          </a:lstStyle>
          <a:p>
            <a:r>
              <a:rPr lang="en-US" dirty="0"/>
              <a:t>Click to edit Master title style</a:t>
            </a:r>
            <a:endParaRPr lang="sv-SE" dirty="0"/>
          </a:p>
        </p:txBody>
      </p:sp>
      <p:sp>
        <p:nvSpPr>
          <p:cNvPr id="13" name="Text Placeholder 6">
            <a:extLst>
              <a:ext uri="{FF2B5EF4-FFF2-40B4-BE49-F238E27FC236}">
                <a16:creationId xmlns:a16="http://schemas.microsoft.com/office/drawing/2014/main" id="{25D070B2-C554-43E5-88F5-599106F7B893}"/>
              </a:ext>
            </a:extLst>
          </p:cNvPr>
          <p:cNvSpPr>
            <a:spLocks noGrp="1"/>
          </p:cNvSpPr>
          <p:nvPr>
            <p:ph type="body" sz="quarter" idx="13"/>
          </p:nvPr>
        </p:nvSpPr>
        <p:spPr>
          <a:xfrm>
            <a:off x="540271" y="1623499"/>
            <a:ext cx="4248472" cy="3096344"/>
          </a:xfrm>
        </p:spPr>
        <p:txBody>
          <a:bodyPr/>
          <a:lstStyle>
            <a:lvl1pPr>
              <a:defRPr>
                <a:solidFill>
                  <a:schemeClr val="bg2"/>
                </a:solidFill>
              </a:defRPr>
            </a:lvl1pPr>
            <a:lvl2pPr marL="174625" indent="-174625">
              <a:defRPr b="0">
                <a:solidFill>
                  <a:schemeClr val="bg2"/>
                </a:solidFill>
              </a:defRPr>
            </a:lvl2pPr>
            <a:lvl3pPr marL="446088" indent="-182563">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a:extLst>
              <a:ext uri="{FF2B5EF4-FFF2-40B4-BE49-F238E27FC236}">
                <a16:creationId xmlns:a16="http://schemas.microsoft.com/office/drawing/2014/main" id="{5195999A-453B-4589-BDE4-5E44A837CB34}"/>
              </a:ext>
            </a:extLst>
          </p:cNvPr>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rtl="0" fontAlgn="base">
              <a:spcBef>
                <a:spcPct val="0"/>
              </a:spcBef>
              <a:spcAft>
                <a:spcPct val="0"/>
              </a:spcAft>
              <a:defRPr lang="en-GB" sz="1000" kern="1200" smtClean="0">
                <a:solidFill>
                  <a:schemeClr val="bg1"/>
                </a:solidFill>
                <a:latin typeface="Arial" pitchFamily="34" charset="0"/>
                <a:ea typeface="+mn-ea"/>
                <a:cs typeface="Arial" pitchFamily="34" charset="0"/>
              </a:defRPr>
            </a:lvl1pPr>
          </a:lstStyle>
          <a:p>
            <a:fld id="{C864BB8D-94B4-466C-94BF-D114C83BF951}" type="slidenum">
              <a:rPr lang="sv-SE" smtClean="0"/>
              <a:pPr/>
              <a:t>‹#›</a:t>
            </a:fld>
            <a:endParaRPr lang="sv-SE" dirty="0"/>
          </a:p>
        </p:txBody>
      </p:sp>
      <p:sp>
        <p:nvSpPr>
          <p:cNvPr id="15" name="Footer Placeholder 3">
            <a:extLst>
              <a:ext uri="{FF2B5EF4-FFF2-40B4-BE49-F238E27FC236}">
                <a16:creationId xmlns:a16="http://schemas.microsoft.com/office/drawing/2014/main" id="{E80D1143-1255-4380-B644-73BF4291E6EB}"/>
              </a:ext>
            </a:extLst>
          </p:cNvPr>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131758819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ransparent Blue fifth element with picture background">
    <p:spTree>
      <p:nvGrpSpPr>
        <p:cNvPr id="1" name=""/>
        <p:cNvGrpSpPr/>
        <p:nvPr/>
      </p:nvGrpSpPr>
      <p:grpSpPr>
        <a:xfrm>
          <a:off x="0" y="0"/>
          <a:ext cx="0" cy="0"/>
          <a:chOff x="0" y="0"/>
          <a:chExt cx="0" cy="0"/>
        </a:xfrm>
      </p:grpSpPr>
      <p:sp>
        <p:nvSpPr>
          <p:cNvPr id="16" name="Rectangle 6">
            <a:extLst>
              <a:ext uri="{FF2B5EF4-FFF2-40B4-BE49-F238E27FC236}">
                <a16:creationId xmlns:a16="http://schemas.microsoft.com/office/drawing/2014/main" id="{FB06032D-A0B6-4EC8-9968-DE2A9EC1DAEF}"/>
              </a:ext>
            </a:extLst>
          </p:cNvPr>
          <p:cNvSpPr/>
          <p:nvPr userDrawn="1"/>
        </p:nvSpPr>
        <p:spPr>
          <a:xfrm>
            <a:off x="-14939" y="-9627"/>
            <a:ext cx="6099827" cy="6853029"/>
          </a:xfrm>
          <a:custGeom>
            <a:avLst/>
            <a:gdLst>
              <a:gd name="connsiteX0" fmla="*/ 0 w 5580063"/>
              <a:gd name="connsiteY0" fmla="*/ 0 h 6851424"/>
              <a:gd name="connsiteX1" fmla="*/ 5580063 w 5580063"/>
              <a:gd name="connsiteY1" fmla="*/ 0 h 6851424"/>
              <a:gd name="connsiteX2" fmla="*/ 5580063 w 5580063"/>
              <a:gd name="connsiteY2" fmla="*/ 6851424 h 6851424"/>
              <a:gd name="connsiteX3" fmla="*/ 0 w 5580063"/>
              <a:gd name="connsiteY3" fmla="*/ 6851424 h 6851424"/>
              <a:gd name="connsiteX4" fmla="*/ 0 w 5580063"/>
              <a:gd name="connsiteY4" fmla="*/ 0 h 6851424"/>
              <a:gd name="connsiteX0" fmla="*/ 0 w 5580063"/>
              <a:gd name="connsiteY0" fmla="*/ 0 h 6861934"/>
              <a:gd name="connsiteX1" fmla="*/ 5580063 w 5580063"/>
              <a:gd name="connsiteY1" fmla="*/ 0 h 6861934"/>
              <a:gd name="connsiteX2" fmla="*/ 3898408 w 5580063"/>
              <a:gd name="connsiteY2" fmla="*/ 6861934 h 6861934"/>
              <a:gd name="connsiteX3" fmla="*/ 0 w 5580063"/>
              <a:gd name="connsiteY3" fmla="*/ 6851424 h 6861934"/>
              <a:gd name="connsiteX4" fmla="*/ 0 w 5580063"/>
              <a:gd name="connsiteY4" fmla="*/ 0 h 6861934"/>
              <a:gd name="connsiteX0" fmla="*/ 0 w 5580063"/>
              <a:gd name="connsiteY0" fmla="*/ 0 h 6851424"/>
              <a:gd name="connsiteX1" fmla="*/ 5580063 w 5580063"/>
              <a:gd name="connsiteY1" fmla="*/ 0 h 6851424"/>
              <a:gd name="connsiteX2" fmla="*/ 3057580 w 5580063"/>
              <a:gd name="connsiteY2" fmla="*/ 6851424 h 6851424"/>
              <a:gd name="connsiteX3" fmla="*/ 0 w 5580063"/>
              <a:gd name="connsiteY3" fmla="*/ 6851424 h 6851424"/>
              <a:gd name="connsiteX4" fmla="*/ 0 w 5580063"/>
              <a:gd name="connsiteY4" fmla="*/ 0 h 6851424"/>
              <a:gd name="connsiteX0" fmla="*/ 0 w 5580063"/>
              <a:gd name="connsiteY0" fmla="*/ 0 h 6851424"/>
              <a:gd name="connsiteX1" fmla="*/ 5580063 w 5580063"/>
              <a:gd name="connsiteY1" fmla="*/ 0 h 6851424"/>
              <a:gd name="connsiteX2" fmla="*/ 3404422 w 5580063"/>
              <a:gd name="connsiteY2" fmla="*/ 6851424 h 6851424"/>
              <a:gd name="connsiteX3" fmla="*/ 0 w 5580063"/>
              <a:gd name="connsiteY3" fmla="*/ 6851424 h 6851424"/>
              <a:gd name="connsiteX4" fmla="*/ 0 w 5580063"/>
              <a:gd name="connsiteY4" fmla="*/ 0 h 6851424"/>
              <a:gd name="connsiteX0" fmla="*/ 0 w 5580063"/>
              <a:gd name="connsiteY0" fmla="*/ 0 h 6851424"/>
              <a:gd name="connsiteX1" fmla="*/ 5580063 w 5580063"/>
              <a:gd name="connsiteY1" fmla="*/ 0 h 6851424"/>
              <a:gd name="connsiteX2" fmla="*/ 3300149 w 5580063"/>
              <a:gd name="connsiteY2" fmla="*/ 6835382 h 6851424"/>
              <a:gd name="connsiteX3" fmla="*/ 0 w 5580063"/>
              <a:gd name="connsiteY3" fmla="*/ 6851424 h 6851424"/>
              <a:gd name="connsiteX4" fmla="*/ 0 w 5580063"/>
              <a:gd name="connsiteY4" fmla="*/ 0 h 6851424"/>
              <a:gd name="connsiteX0" fmla="*/ 0 w 5580063"/>
              <a:gd name="connsiteY0" fmla="*/ 0 h 6851424"/>
              <a:gd name="connsiteX1" fmla="*/ 5580063 w 5580063"/>
              <a:gd name="connsiteY1" fmla="*/ 0 h 6851424"/>
              <a:gd name="connsiteX2" fmla="*/ 3300149 w 5580063"/>
              <a:gd name="connsiteY2" fmla="*/ 6843403 h 6851424"/>
              <a:gd name="connsiteX3" fmla="*/ 0 w 5580063"/>
              <a:gd name="connsiteY3" fmla="*/ 6851424 h 6851424"/>
              <a:gd name="connsiteX4" fmla="*/ 0 w 5580063"/>
              <a:gd name="connsiteY4" fmla="*/ 0 h 6851424"/>
              <a:gd name="connsiteX0" fmla="*/ 0 w 5580063"/>
              <a:gd name="connsiteY0" fmla="*/ 0 h 7108098"/>
              <a:gd name="connsiteX1" fmla="*/ 5580063 w 5580063"/>
              <a:gd name="connsiteY1" fmla="*/ 0 h 7108098"/>
              <a:gd name="connsiteX2" fmla="*/ 2714612 w 5580063"/>
              <a:gd name="connsiteY2" fmla="*/ 7108098 h 7108098"/>
              <a:gd name="connsiteX3" fmla="*/ 0 w 5580063"/>
              <a:gd name="connsiteY3" fmla="*/ 6851424 h 7108098"/>
              <a:gd name="connsiteX4" fmla="*/ 0 w 5580063"/>
              <a:gd name="connsiteY4" fmla="*/ 0 h 7108098"/>
              <a:gd name="connsiteX0" fmla="*/ 0 w 5580063"/>
              <a:gd name="connsiteY0" fmla="*/ 0 h 6851424"/>
              <a:gd name="connsiteX1" fmla="*/ 5580063 w 5580063"/>
              <a:gd name="connsiteY1" fmla="*/ 0 h 6851424"/>
              <a:gd name="connsiteX2" fmla="*/ 3300149 w 5580063"/>
              <a:gd name="connsiteY2" fmla="*/ 6843403 h 6851424"/>
              <a:gd name="connsiteX3" fmla="*/ 0 w 5580063"/>
              <a:gd name="connsiteY3" fmla="*/ 6851424 h 6851424"/>
              <a:gd name="connsiteX4" fmla="*/ 0 w 5580063"/>
              <a:gd name="connsiteY4" fmla="*/ 0 h 6851424"/>
              <a:gd name="connsiteX0" fmla="*/ 0 w 5734067"/>
              <a:gd name="connsiteY0" fmla="*/ 0 h 6861050"/>
              <a:gd name="connsiteX1" fmla="*/ 5734067 w 5734067"/>
              <a:gd name="connsiteY1" fmla="*/ 9626 h 6861050"/>
              <a:gd name="connsiteX2" fmla="*/ 3454153 w 5734067"/>
              <a:gd name="connsiteY2" fmla="*/ 6853029 h 6861050"/>
              <a:gd name="connsiteX3" fmla="*/ 154004 w 5734067"/>
              <a:gd name="connsiteY3" fmla="*/ 6861050 h 6861050"/>
              <a:gd name="connsiteX4" fmla="*/ 0 w 5734067"/>
              <a:gd name="connsiteY4" fmla="*/ 0 h 6861050"/>
              <a:gd name="connsiteX0" fmla="*/ 0 w 5734067"/>
              <a:gd name="connsiteY0" fmla="*/ 0 h 6861050"/>
              <a:gd name="connsiteX1" fmla="*/ 5734067 w 5734067"/>
              <a:gd name="connsiteY1" fmla="*/ 9626 h 6861050"/>
              <a:gd name="connsiteX2" fmla="*/ 3454153 w 5734067"/>
              <a:gd name="connsiteY2" fmla="*/ 6853029 h 6861050"/>
              <a:gd name="connsiteX3" fmla="*/ 0 w 5734067"/>
              <a:gd name="connsiteY3" fmla="*/ 6861050 h 6861050"/>
              <a:gd name="connsiteX4" fmla="*/ 0 w 5734067"/>
              <a:gd name="connsiteY4" fmla="*/ 0 h 6861050"/>
              <a:gd name="connsiteX0" fmla="*/ 0 w 5734067"/>
              <a:gd name="connsiteY0" fmla="*/ 0 h 6853029"/>
              <a:gd name="connsiteX1" fmla="*/ 5734067 w 5734067"/>
              <a:gd name="connsiteY1" fmla="*/ 9626 h 6853029"/>
              <a:gd name="connsiteX2" fmla="*/ 3454153 w 5734067"/>
              <a:gd name="connsiteY2" fmla="*/ 6853029 h 6853029"/>
              <a:gd name="connsiteX3" fmla="*/ 298383 w 5734067"/>
              <a:gd name="connsiteY3" fmla="*/ 6466414 h 6853029"/>
              <a:gd name="connsiteX4" fmla="*/ 0 w 5734067"/>
              <a:gd name="connsiteY4" fmla="*/ 0 h 6853029"/>
              <a:gd name="connsiteX0" fmla="*/ 0 w 5734067"/>
              <a:gd name="connsiteY0" fmla="*/ 0 h 6853029"/>
              <a:gd name="connsiteX1" fmla="*/ 5734067 w 5734067"/>
              <a:gd name="connsiteY1" fmla="*/ 9626 h 6853029"/>
              <a:gd name="connsiteX2" fmla="*/ 3454153 w 5734067"/>
              <a:gd name="connsiteY2" fmla="*/ 6853029 h 6853029"/>
              <a:gd name="connsiteX3" fmla="*/ 9625 w 5734067"/>
              <a:gd name="connsiteY3" fmla="*/ 6851425 h 6853029"/>
              <a:gd name="connsiteX4" fmla="*/ 0 w 5734067"/>
              <a:gd name="connsiteY4" fmla="*/ 0 h 6853029"/>
              <a:gd name="connsiteX0" fmla="*/ 0 w 6099827"/>
              <a:gd name="connsiteY0" fmla="*/ 0 h 6853029"/>
              <a:gd name="connsiteX1" fmla="*/ 6099827 w 6099827"/>
              <a:gd name="connsiteY1" fmla="*/ 9626 h 6853029"/>
              <a:gd name="connsiteX2" fmla="*/ 3819913 w 6099827"/>
              <a:gd name="connsiteY2" fmla="*/ 6853029 h 6853029"/>
              <a:gd name="connsiteX3" fmla="*/ 375385 w 6099827"/>
              <a:gd name="connsiteY3" fmla="*/ 6851425 h 6853029"/>
              <a:gd name="connsiteX4" fmla="*/ 0 w 6099827"/>
              <a:gd name="connsiteY4" fmla="*/ 0 h 6853029"/>
              <a:gd name="connsiteX0" fmla="*/ 0 w 6099827"/>
              <a:gd name="connsiteY0" fmla="*/ 0 h 6853029"/>
              <a:gd name="connsiteX1" fmla="*/ 6099827 w 6099827"/>
              <a:gd name="connsiteY1" fmla="*/ 9626 h 6853029"/>
              <a:gd name="connsiteX2" fmla="*/ 3819913 w 6099827"/>
              <a:gd name="connsiteY2" fmla="*/ 6853029 h 6853029"/>
              <a:gd name="connsiteX3" fmla="*/ 9625 w 6099827"/>
              <a:gd name="connsiteY3" fmla="*/ 6841799 h 6853029"/>
              <a:gd name="connsiteX4" fmla="*/ 0 w 6099827"/>
              <a:gd name="connsiteY4" fmla="*/ 0 h 6853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827" h="6853029">
                <a:moveTo>
                  <a:pt x="0" y="0"/>
                </a:moveTo>
                <a:lnTo>
                  <a:pt x="6099827" y="9626"/>
                </a:lnTo>
                <a:lnTo>
                  <a:pt x="3819913" y="6853029"/>
                </a:lnTo>
                <a:lnTo>
                  <a:pt x="9625" y="6841799"/>
                </a:lnTo>
                <a:cubicBezTo>
                  <a:pt x="6417" y="4557991"/>
                  <a:pt x="3208" y="2283808"/>
                  <a:pt x="0" y="0"/>
                </a:cubicBezTo>
                <a:close/>
              </a:path>
            </a:pathLst>
          </a:cu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Title 1">
            <a:extLst>
              <a:ext uri="{FF2B5EF4-FFF2-40B4-BE49-F238E27FC236}">
                <a16:creationId xmlns:a16="http://schemas.microsoft.com/office/drawing/2014/main" id="{4293B211-4F44-43C2-85CD-47FB1192E34A}"/>
              </a:ext>
            </a:extLst>
          </p:cNvPr>
          <p:cNvSpPr>
            <a:spLocks noGrp="1"/>
          </p:cNvSpPr>
          <p:nvPr>
            <p:ph type="title" hasCustomPrompt="1"/>
          </p:nvPr>
        </p:nvSpPr>
        <p:spPr>
          <a:xfrm>
            <a:off x="539750" y="399362"/>
            <a:ext cx="4685036" cy="1139825"/>
          </a:xfrm>
        </p:spPr>
        <p:txBody>
          <a:bodyPr/>
          <a:lstStyle>
            <a:lvl1pPr>
              <a:defRPr b="0">
                <a:solidFill>
                  <a:schemeClr val="bg2"/>
                </a:solidFill>
              </a:defRPr>
            </a:lvl1pPr>
          </a:lstStyle>
          <a:p>
            <a:r>
              <a:rPr lang="en-US" dirty="0"/>
              <a:t>Transparence for full picture background</a:t>
            </a:r>
            <a:endParaRPr lang="sv-SE" dirty="0"/>
          </a:p>
        </p:txBody>
      </p:sp>
      <p:sp>
        <p:nvSpPr>
          <p:cNvPr id="18" name="Text Placeholder 6">
            <a:extLst>
              <a:ext uri="{FF2B5EF4-FFF2-40B4-BE49-F238E27FC236}">
                <a16:creationId xmlns:a16="http://schemas.microsoft.com/office/drawing/2014/main" id="{322C7983-B6E2-4875-92FC-21607D76CEA7}"/>
              </a:ext>
            </a:extLst>
          </p:cNvPr>
          <p:cNvSpPr>
            <a:spLocks noGrp="1"/>
          </p:cNvSpPr>
          <p:nvPr>
            <p:ph type="body" sz="quarter" idx="13"/>
          </p:nvPr>
        </p:nvSpPr>
        <p:spPr>
          <a:xfrm>
            <a:off x="540271" y="1623499"/>
            <a:ext cx="4248472" cy="3096344"/>
          </a:xfrm>
        </p:spPr>
        <p:txBody>
          <a:bodyPr/>
          <a:lstStyle>
            <a:lvl1pPr>
              <a:defRPr>
                <a:solidFill>
                  <a:schemeClr val="bg2"/>
                </a:solidFill>
              </a:defRPr>
            </a:lvl1pPr>
            <a:lvl2pPr marL="174625" indent="-174625">
              <a:defRPr b="0">
                <a:solidFill>
                  <a:schemeClr val="bg2"/>
                </a:solidFill>
              </a:defRPr>
            </a:lvl2pPr>
            <a:lvl3pPr marL="446088" indent="-182563">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a:extLst>
              <a:ext uri="{FF2B5EF4-FFF2-40B4-BE49-F238E27FC236}">
                <a16:creationId xmlns:a16="http://schemas.microsoft.com/office/drawing/2014/main" id="{8793E735-61BB-4E89-AE53-0D73BFF0209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14" name="Slide Number Placeholder 5">
            <a:extLst>
              <a:ext uri="{FF2B5EF4-FFF2-40B4-BE49-F238E27FC236}">
                <a16:creationId xmlns:a16="http://schemas.microsoft.com/office/drawing/2014/main" id="{5195999A-453B-4589-BDE4-5E44A837CB34}"/>
              </a:ext>
            </a:extLst>
          </p:cNvPr>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rtl="0" fontAlgn="base">
              <a:spcBef>
                <a:spcPct val="0"/>
              </a:spcBef>
              <a:spcAft>
                <a:spcPct val="0"/>
              </a:spcAft>
              <a:defRPr lang="en-GB" sz="1000" kern="1200" smtClean="0">
                <a:solidFill>
                  <a:schemeClr val="bg1"/>
                </a:solidFill>
                <a:latin typeface="Arial" pitchFamily="34" charset="0"/>
                <a:ea typeface="+mn-ea"/>
                <a:cs typeface="Arial" pitchFamily="34" charset="0"/>
              </a:defRPr>
            </a:lvl1pPr>
          </a:lstStyle>
          <a:p>
            <a:fld id="{C864BB8D-94B4-466C-94BF-D114C83BF951}" type="slidenum">
              <a:rPr lang="sv-SE" smtClean="0"/>
              <a:pPr/>
              <a:t>‹#›</a:t>
            </a:fld>
            <a:endParaRPr lang="sv-SE" dirty="0"/>
          </a:p>
        </p:txBody>
      </p:sp>
      <p:sp>
        <p:nvSpPr>
          <p:cNvPr id="15" name="Footer Placeholder 3">
            <a:extLst>
              <a:ext uri="{FF2B5EF4-FFF2-40B4-BE49-F238E27FC236}">
                <a16:creationId xmlns:a16="http://schemas.microsoft.com/office/drawing/2014/main" id="{E80D1143-1255-4380-B644-73BF4291E6EB}"/>
              </a:ext>
            </a:extLst>
          </p:cNvPr>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340397111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framed picture + coloured slide">
    <p:bg>
      <p:bgPr>
        <a:solidFill>
          <a:schemeClr val="tx2"/>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1"/>
          </p:nvPr>
        </p:nvSpPr>
        <p:spPr>
          <a:xfrm>
            <a:off x="0" y="0"/>
            <a:ext cx="5580063" cy="6843403"/>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 name="connsiteX0" fmla="*/ 0 w 5580063"/>
              <a:gd name="connsiteY0" fmla="*/ 0 h 6840538"/>
              <a:gd name="connsiteX1" fmla="*/ 5580063 w 5580063"/>
              <a:gd name="connsiteY1" fmla="*/ 0 h 6840538"/>
              <a:gd name="connsiteX2" fmla="*/ 3146247 w 5580063"/>
              <a:gd name="connsiteY2" fmla="*/ 5704413 h 6840538"/>
              <a:gd name="connsiteX3" fmla="*/ 0 w 5580063"/>
              <a:gd name="connsiteY3" fmla="*/ 6840538 h 6840538"/>
              <a:gd name="connsiteX4" fmla="*/ 0 w 5580063"/>
              <a:gd name="connsiteY4" fmla="*/ 0 h 6840538"/>
              <a:gd name="connsiteX0" fmla="*/ 0 w 5580063"/>
              <a:gd name="connsiteY0" fmla="*/ 0 h 6222917"/>
              <a:gd name="connsiteX1" fmla="*/ 5580063 w 5580063"/>
              <a:gd name="connsiteY1" fmla="*/ 0 h 6222917"/>
              <a:gd name="connsiteX2" fmla="*/ 3146247 w 5580063"/>
              <a:gd name="connsiteY2" fmla="*/ 5704413 h 6222917"/>
              <a:gd name="connsiteX3" fmla="*/ 272716 w 5580063"/>
              <a:gd name="connsiteY3" fmla="*/ 6222917 h 6222917"/>
              <a:gd name="connsiteX4" fmla="*/ 0 w 5580063"/>
              <a:gd name="connsiteY4" fmla="*/ 0 h 6222917"/>
              <a:gd name="connsiteX0" fmla="*/ 0 w 5580063"/>
              <a:gd name="connsiteY0" fmla="*/ 0 h 6840538"/>
              <a:gd name="connsiteX1" fmla="*/ 5580063 w 5580063"/>
              <a:gd name="connsiteY1" fmla="*/ 0 h 6840538"/>
              <a:gd name="connsiteX2" fmla="*/ 3146247 w 5580063"/>
              <a:gd name="connsiteY2" fmla="*/ 5704413 h 6840538"/>
              <a:gd name="connsiteX3" fmla="*/ 0 w 5580063"/>
              <a:gd name="connsiteY3" fmla="*/ 6840538 h 6840538"/>
              <a:gd name="connsiteX4" fmla="*/ 0 w 5580063"/>
              <a:gd name="connsiteY4" fmla="*/ 0 h 6840538"/>
              <a:gd name="connsiteX0" fmla="*/ 0 w 5580063"/>
              <a:gd name="connsiteY0" fmla="*/ 0 h 6843403"/>
              <a:gd name="connsiteX1" fmla="*/ 5580063 w 5580063"/>
              <a:gd name="connsiteY1" fmla="*/ 0 h 6843403"/>
              <a:gd name="connsiteX2" fmla="*/ 3290625 w 5580063"/>
              <a:gd name="connsiteY2" fmla="*/ 6843403 h 6843403"/>
              <a:gd name="connsiteX3" fmla="*/ 0 w 5580063"/>
              <a:gd name="connsiteY3" fmla="*/ 6840538 h 6843403"/>
              <a:gd name="connsiteX4" fmla="*/ 0 w 5580063"/>
              <a:gd name="connsiteY4" fmla="*/ 0 h 6843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43403">
                <a:moveTo>
                  <a:pt x="0" y="0"/>
                </a:moveTo>
                <a:lnTo>
                  <a:pt x="5580063" y="0"/>
                </a:lnTo>
                <a:lnTo>
                  <a:pt x="3290625" y="6843403"/>
                </a:lnTo>
                <a:lnTo>
                  <a:pt x="0" y="6840538"/>
                </a:lnTo>
                <a:lnTo>
                  <a:pt x="0" y="0"/>
                </a:lnTo>
                <a:close/>
              </a:path>
            </a:pathLst>
          </a:custGeom>
        </p:spPr>
        <p:txBody>
          <a:bodyPr/>
          <a:lstStyle>
            <a:lvl1pPr>
              <a:defRPr>
                <a:solidFill>
                  <a:schemeClr val="bg1"/>
                </a:solidFill>
              </a:defRPr>
            </a:lvl1pPr>
          </a:lstStyle>
          <a:p>
            <a:endParaRPr lang="en-GB"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
        <p:nvSpPr>
          <p:cNvPr id="10" name="Title 1">
            <a:extLst>
              <a:ext uri="{FF2B5EF4-FFF2-40B4-BE49-F238E27FC236}">
                <a16:creationId xmlns:a16="http://schemas.microsoft.com/office/drawing/2014/main" id="{6C13A741-605A-4BC1-B12F-6B4884693E96}"/>
              </a:ext>
            </a:extLst>
          </p:cNvPr>
          <p:cNvSpPr>
            <a:spLocks noGrp="1"/>
          </p:cNvSpPr>
          <p:nvPr>
            <p:ph type="title"/>
          </p:nvPr>
        </p:nvSpPr>
        <p:spPr>
          <a:xfrm>
            <a:off x="5795068" y="398125"/>
            <a:ext cx="5832362" cy="1139825"/>
          </a:xfrm>
        </p:spPr>
        <p:txBody>
          <a:bodyPr/>
          <a:lstStyle>
            <a:lvl1pPr>
              <a:defRPr>
                <a:solidFill>
                  <a:schemeClr val="bg2"/>
                </a:solidFill>
              </a:defRPr>
            </a:lvl1pPr>
          </a:lstStyle>
          <a:p>
            <a:r>
              <a:rPr lang="en-US" dirty="0"/>
              <a:t>Click to edit Master title style</a:t>
            </a:r>
            <a:endParaRPr lang="sv-SE" dirty="0"/>
          </a:p>
        </p:txBody>
      </p:sp>
      <p:sp>
        <p:nvSpPr>
          <p:cNvPr id="11" name="Text Placeholder 6">
            <a:extLst>
              <a:ext uri="{FF2B5EF4-FFF2-40B4-BE49-F238E27FC236}">
                <a16:creationId xmlns:a16="http://schemas.microsoft.com/office/drawing/2014/main" id="{37B0033A-ADF4-48AE-89CB-79A6BEA12A9E}"/>
              </a:ext>
            </a:extLst>
          </p:cNvPr>
          <p:cNvSpPr>
            <a:spLocks noGrp="1"/>
          </p:cNvSpPr>
          <p:nvPr>
            <p:ph type="body" sz="quarter" idx="13"/>
          </p:nvPr>
        </p:nvSpPr>
        <p:spPr>
          <a:xfrm>
            <a:off x="5796855" y="1622262"/>
            <a:ext cx="5833170" cy="3096344"/>
          </a:xfrm>
        </p:spPr>
        <p:txBody>
          <a:bodyPr/>
          <a:lstStyle>
            <a:lvl1pPr>
              <a:defRPr>
                <a:solidFill>
                  <a:schemeClr val="bg2"/>
                </a:solidFill>
              </a:defRPr>
            </a:lvl1pPr>
            <a:lvl2pPr marL="174625" indent="-174625">
              <a:defRPr b="0">
                <a:solidFill>
                  <a:schemeClr val="bg2"/>
                </a:solidFill>
              </a:defRPr>
            </a:lvl2pPr>
            <a:lvl3pPr marL="446088" indent="-182563">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a:extLst>
              <a:ext uri="{FF2B5EF4-FFF2-40B4-BE49-F238E27FC236}">
                <a16:creationId xmlns:a16="http://schemas.microsoft.com/office/drawing/2014/main" id="{433DB39A-143B-4E21-B66E-C747B1944757}"/>
              </a:ext>
            </a:extLst>
          </p:cNvPr>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rtl="0" fontAlgn="base">
              <a:spcBef>
                <a:spcPct val="0"/>
              </a:spcBef>
              <a:spcAft>
                <a:spcPct val="0"/>
              </a:spcAft>
              <a:defRPr lang="en-GB" sz="1000" kern="1200" smtClean="0">
                <a:solidFill>
                  <a:schemeClr val="bg1"/>
                </a:solidFill>
                <a:latin typeface="Arial" pitchFamily="34" charset="0"/>
                <a:ea typeface="+mn-ea"/>
                <a:cs typeface="Arial" pitchFamily="34" charset="0"/>
              </a:defRPr>
            </a:lvl1pPr>
          </a:lstStyle>
          <a:p>
            <a:fld id="{C864BB8D-94B4-466C-94BF-D114C83BF951}" type="slidenum">
              <a:rPr lang="sv-SE" smtClean="0"/>
              <a:pPr/>
              <a:t>‹#›</a:t>
            </a:fld>
            <a:endParaRPr lang="sv-SE" dirty="0"/>
          </a:p>
        </p:txBody>
      </p:sp>
      <p:sp>
        <p:nvSpPr>
          <p:cNvPr id="13" name="Footer Placeholder 3">
            <a:extLst>
              <a:ext uri="{FF2B5EF4-FFF2-40B4-BE49-F238E27FC236}">
                <a16:creationId xmlns:a16="http://schemas.microsoft.com/office/drawing/2014/main" id="{904E8A03-9A22-485E-9E85-B8CB75F063B3}"/>
              </a:ext>
            </a:extLst>
          </p:cNvPr>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55478031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loured 5th element and background picture">
    <p:bg>
      <p:bgPr>
        <a:solidFill>
          <a:schemeClr val="tx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
        <p:nvSpPr>
          <p:cNvPr id="8"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
        <p:nvSpPr>
          <p:cNvPr id="14" name="Title 1">
            <a:extLst>
              <a:ext uri="{FF2B5EF4-FFF2-40B4-BE49-F238E27FC236}">
                <a16:creationId xmlns:a16="http://schemas.microsoft.com/office/drawing/2014/main" id="{F9D28480-8A73-4A7B-BE33-1AA00B1CB4C4}"/>
              </a:ext>
            </a:extLst>
          </p:cNvPr>
          <p:cNvSpPr>
            <a:spLocks noGrp="1"/>
          </p:cNvSpPr>
          <p:nvPr>
            <p:ph type="title"/>
          </p:nvPr>
        </p:nvSpPr>
        <p:spPr>
          <a:xfrm>
            <a:off x="539750" y="408236"/>
            <a:ext cx="11088139" cy="1139825"/>
          </a:xfrm>
        </p:spPr>
        <p:txBody>
          <a:bodyPr/>
          <a:lstStyle>
            <a:lvl1pPr>
              <a:defRPr>
                <a:solidFill>
                  <a:schemeClr val="bg2"/>
                </a:solidFill>
              </a:defRPr>
            </a:lvl1pPr>
          </a:lstStyle>
          <a:p>
            <a:r>
              <a:rPr lang="en-US" dirty="0"/>
              <a:t>Click to edit Master title style</a:t>
            </a:r>
            <a:endParaRPr lang="en-GB" dirty="0"/>
          </a:p>
        </p:txBody>
      </p:sp>
      <p:sp>
        <p:nvSpPr>
          <p:cNvPr id="15" name="Content Placeholder 6">
            <a:extLst>
              <a:ext uri="{FF2B5EF4-FFF2-40B4-BE49-F238E27FC236}">
                <a16:creationId xmlns:a16="http://schemas.microsoft.com/office/drawing/2014/main" id="{30F84E91-07F7-4E80-8B8A-BDB4D1836A38}"/>
              </a:ext>
            </a:extLst>
          </p:cNvPr>
          <p:cNvSpPr>
            <a:spLocks noGrp="1"/>
          </p:cNvSpPr>
          <p:nvPr>
            <p:ph sz="quarter" idx="11"/>
          </p:nvPr>
        </p:nvSpPr>
        <p:spPr>
          <a:xfrm>
            <a:off x="539749" y="1620837"/>
            <a:ext cx="5400000" cy="4031679"/>
          </a:xfrm>
        </p:spPr>
        <p:txBody>
          <a:bodyPr/>
          <a:lstStyle>
            <a:lvl1pPr>
              <a:defRPr>
                <a:solidFill>
                  <a:schemeClr val="bg2"/>
                </a:solidFill>
              </a:defRPr>
            </a:lvl1pPr>
            <a:lvl2pPr>
              <a:defRPr b="0">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8">
            <a:extLst>
              <a:ext uri="{FF2B5EF4-FFF2-40B4-BE49-F238E27FC236}">
                <a16:creationId xmlns:a16="http://schemas.microsoft.com/office/drawing/2014/main" id="{9DEA0AA1-1828-4089-9D9F-0A47023BCBC9}"/>
              </a:ext>
            </a:extLst>
          </p:cNvPr>
          <p:cNvSpPr>
            <a:spLocks noGrp="1"/>
          </p:cNvSpPr>
          <p:nvPr>
            <p:ph sz="quarter" idx="13"/>
          </p:nvPr>
        </p:nvSpPr>
        <p:spPr>
          <a:xfrm>
            <a:off x="6228903" y="1620838"/>
            <a:ext cx="5398986" cy="4031474"/>
          </a:xfrm>
        </p:spPr>
        <p:txBody>
          <a:bodyPr/>
          <a:lstStyle>
            <a:lvl1pPr>
              <a:defRPr>
                <a:solidFill>
                  <a:schemeClr val="bg2"/>
                </a:solidFill>
              </a:defRPr>
            </a:lvl1pPr>
            <a:lvl2pPr>
              <a:defRPr b="0">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4306616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ank you  Layou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1992412"/>
            <a:ext cx="11088139" cy="2291953"/>
          </a:xfrm>
        </p:spPr>
        <p:txBody>
          <a:bodyPr anchor="ctr" anchorCtr="1">
            <a:noAutofit/>
          </a:bodyPr>
          <a:lstStyle>
            <a:lvl1pPr algn="ctr">
              <a:defRPr sz="6000" b="0">
                <a:solidFill>
                  <a:schemeClr val="bg2"/>
                </a:solidFill>
              </a:defRPr>
            </a:lvl1pPr>
          </a:lstStyle>
          <a:p>
            <a:r>
              <a:rPr lang="en-US" dirty="0"/>
              <a:t>Thank you!</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pic>
        <p:nvPicPr>
          <p:cNvPr id="4" name="Picture 3">
            <a:extLst>
              <a:ext uri="{FF2B5EF4-FFF2-40B4-BE49-F238E27FC236}">
                <a16:creationId xmlns:a16="http://schemas.microsoft.com/office/drawing/2014/main" id="{87CC4B59-4AB1-4B5D-A44B-937E104B0F0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73432" y="5518857"/>
            <a:ext cx="6446533" cy="557785"/>
          </a:xfrm>
          <a:prstGeom prst="rect">
            <a:avLst/>
          </a:prstGeom>
        </p:spPr>
      </p:pic>
    </p:spTree>
    <p:extLst>
      <p:ext uri="{BB962C8B-B14F-4D97-AF65-F5344CB8AC3E}">
        <p14:creationId xmlns:p14="http://schemas.microsoft.com/office/powerpoint/2010/main" val="406293954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Chapter page">
    <p:bg>
      <p:bgPr>
        <a:solidFill>
          <a:schemeClr val="tx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4488D4-CD72-4342-818C-A7B16A1ED3CC}"/>
              </a:ext>
            </a:extLst>
          </p:cNvPr>
          <p:cNvGrpSpPr/>
          <p:nvPr userDrawn="1"/>
        </p:nvGrpSpPr>
        <p:grpSpPr>
          <a:xfrm>
            <a:off x="1150205" y="1940353"/>
            <a:ext cx="9869364" cy="2570196"/>
            <a:chOff x="1150205" y="1940353"/>
            <a:chExt cx="9869364" cy="2570196"/>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850106" y="1940353"/>
              <a:ext cx="2469563" cy="1512169"/>
            </a:xfrm>
            <a:prstGeom prst="rect">
              <a:avLst/>
            </a:prstGeom>
          </p:spPr>
        </p:pic>
        <p:sp>
          <p:nvSpPr>
            <p:cNvPr id="8" name="Title 1">
              <a:extLst>
                <a:ext uri="{FF2B5EF4-FFF2-40B4-BE49-F238E27FC236}">
                  <a16:creationId xmlns:a16="http://schemas.microsoft.com/office/drawing/2014/main" id="{03FCC5F1-E6C4-4992-A8CA-064E596743BA}"/>
                </a:ext>
              </a:extLst>
            </p:cNvPr>
            <p:cNvSpPr txBox="1">
              <a:spLocks/>
            </p:cNvSpPr>
            <p:nvPr userDrawn="1"/>
          </p:nvSpPr>
          <p:spPr>
            <a:xfrm>
              <a:off x="1150205" y="3574445"/>
              <a:ext cx="9869364" cy="936104"/>
            </a:xfrm>
            <a:prstGeom prst="rect">
              <a:avLst/>
            </a:prstGeom>
          </p:spPr>
          <p:txBody>
            <a:bodyPr vert="horz" lIns="91440" tIns="45720" rIns="91440" bIns="45720" rtlCol="0" anchor="t">
              <a:noAutofit/>
            </a:bodyPr>
            <a:lstStyle>
              <a:lvl1pPr algn="ctr" defTabSz="914400" rtl="0" eaLnBrk="1" latinLnBrk="0" hangingPunct="1">
                <a:spcBef>
                  <a:spcPct val="0"/>
                </a:spcBef>
                <a:buNone/>
                <a:defRPr sz="5400" kern="1200" spc="-130" baseline="0">
                  <a:solidFill>
                    <a:schemeClr val="bg2"/>
                  </a:solidFill>
                  <a:latin typeface="Arial" pitchFamily="34" charset="0"/>
                  <a:ea typeface="+mj-ea"/>
                  <a:cs typeface="Arial" pitchFamily="34" charset="0"/>
                </a:defRPr>
              </a:lvl1pPr>
            </a:lstStyle>
            <a:p>
              <a:pPr fontAlgn="auto">
                <a:spcAft>
                  <a:spcPts val="0"/>
                </a:spcAft>
              </a:pPr>
              <a:r>
                <a:rPr lang="en-US" sz="4400" dirty="0">
                  <a:solidFill>
                    <a:schemeClr val="accent1"/>
                  </a:solidFill>
                </a:rPr>
                <a:t>The better </a:t>
              </a:r>
              <a:r>
                <a:rPr lang="en-US" sz="4400" dirty="0"/>
                <a:t>shopping experience</a:t>
              </a:r>
              <a:endParaRPr lang="en-GB" sz="4400" dirty="0"/>
            </a:p>
          </p:txBody>
        </p:sp>
      </p:grpSp>
    </p:spTree>
    <p:extLst>
      <p:ext uri="{BB962C8B-B14F-4D97-AF65-F5344CB8AC3E}">
        <p14:creationId xmlns:p14="http://schemas.microsoft.com/office/powerpoint/2010/main" val="119581547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Chapter page">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571ECAF-F4EB-4754-ABB7-776B0AAB29B8}"/>
              </a:ext>
            </a:extLst>
          </p:cNvPr>
          <p:cNvGrpSpPr/>
          <p:nvPr userDrawn="1"/>
        </p:nvGrpSpPr>
        <p:grpSpPr>
          <a:xfrm>
            <a:off x="790165" y="1943897"/>
            <a:ext cx="10589444" cy="2628500"/>
            <a:chOff x="790165" y="1943897"/>
            <a:chExt cx="10589444" cy="2628500"/>
          </a:xfrm>
        </p:grpSpPr>
        <p:pic>
          <p:nvPicPr>
            <p:cNvPr id="4" name="Picture 3">
              <a:extLst>
                <a:ext uri="{FF2B5EF4-FFF2-40B4-BE49-F238E27FC236}">
                  <a16:creationId xmlns:a16="http://schemas.microsoft.com/office/drawing/2014/main" id="{4DB854F6-348C-4276-9E6E-C646FC6F5B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35058" y="1943897"/>
              <a:ext cx="2499659" cy="1528060"/>
            </a:xfrm>
            <a:prstGeom prst="rect">
              <a:avLst/>
            </a:prstGeom>
          </p:spPr>
        </p:pic>
        <p:sp>
          <p:nvSpPr>
            <p:cNvPr id="5" name="Title 1">
              <a:extLst>
                <a:ext uri="{FF2B5EF4-FFF2-40B4-BE49-F238E27FC236}">
                  <a16:creationId xmlns:a16="http://schemas.microsoft.com/office/drawing/2014/main" id="{656804A1-34B7-43F1-9302-DB91D0E3C5E5}"/>
                </a:ext>
              </a:extLst>
            </p:cNvPr>
            <p:cNvSpPr txBox="1">
              <a:spLocks/>
            </p:cNvSpPr>
            <p:nvPr userDrawn="1"/>
          </p:nvSpPr>
          <p:spPr>
            <a:xfrm>
              <a:off x="790165" y="3576588"/>
              <a:ext cx="10589444" cy="995809"/>
            </a:xfrm>
            <a:prstGeom prst="rect">
              <a:avLst/>
            </a:prstGeom>
          </p:spPr>
          <p:txBody>
            <a:bodyPr vert="horz" lIns="91440" tIns="45720" rIns="91440" bIns="45720" rtlCol="0" anchor="t">
              <a:noAutofit/>
            </a:bodyPr>
            <a:lstStyle>
              <a:lvl1pPr algn="ctr" defTabSz="914400" rtl="0" eaLnBrk="1" latinLnBrk="0" hangingPunct="1">
                <a:spcBef>
                  <a:spcPct val="0"/>
                </a:spcBef>
                <a:buNone/>
                <a:defRPr sz="5400" kern="1200" spc="-130" baseline="0">
                  <a:solidFill>
                    <a:schemeClr val="bg2"/>
                  </a:solidFill>
                  <a:latin typeface="Arial" pitchFamily="34" charset="0"/>
                  <a:ea typeface="+mj-ea"/>
                  <a:cs typeface="Arial" pitchFamily="34" charset="0"/>
                </a:defRPr>
              </a:lvl1pPr>
            </a:lstStyle>
            <a:p>
              <a:pPr fontAlgn="auto">
                <a:spcAft>
                  <a:spcPts val="0"/>
                </a:spcAft>
              </a:pPr>
              <a:r>
                <a:rPr lang="en-US" sz="4400" dirty="0">
                  <a:solidFill>
                    <a:schemeClr val="accent2"/>
                  </a:solidFill>
                </a:rPr>
                <a:t>The better </a:t>
              </a:r>
              <a:r>
                <a:rPr lang="en-US" sz="4400" dirty="0">
                  <a:solidFill>
                    <a:schemeClr val="tx2"/>
                  </a:solidFill>
                </a:rPr>
                <a:t>shopping experience</a:t>
              </a:r>
              <a:endParaRPr lang="en-GB" sz="4400" dirty="0">
                <a:solidFill>
                  <a:schemeClr val="tx2"/>
                </a:solidFill>
              </a:endParaRPr>
            </a:p>
          </p:txBody>
        </p:sp>
      </p:grpSp>
    </p:spTree>
    <p:extLst>
      <p:ext uri="{BB962C8B-B14F-4D97-AF65-F5344CB8AC3E}">
        <p14:creationId xmlns:p14="http://schemas.microsoft.com/office/powerpoint/2010/main" val="31418717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ransparent colour for picture background">
    <p:spTree>
      <p:nvGrpSpPr>
        <p:cNvPr id="1" name=""/>
        <p:cNvGrpSpPr/>
        <p:nvPr/>
      </p:nvGrpSpPr>
      <p:grpSpPr>
        <a:xfrm>
          <a:off x="0" y="0"/>
          <a:ext cx="0" cy="0"/>
          <a:chOff x="0" y="0"/>
          <a:chExt cx="0" cy="0"/>
        </a:xfrm>
      </p:grpSpPr>
      <p:sp>
        <p:nvSpPr>
          <p:cNvPr id="5" name="Freeform 4"/>
          <p:cNvSpPr/>
          <p:nvPr userDrawn="1"/>
        </p:nvSpPr>
        <p:spPr>
          <a:xfrm>
            <a:off x="-28576" y="1146412"/>
            <a:ext cx="7806519" cy="3712191"/>
          </a:xfrm>
          <a:custGeom>
            <a:avLst/>
            <a:gdLst>
              <a:gd name="connsiteX0" fmla="*/ 0 w 7806519"/>
              <a:gd name="connsiteY0" fmla="*/ 0 h 3712191"/>
              <a:gd name="connsiteX1" fmla="*/ 7806519 w 7806519"/>
              <a:gd name="connsiteY1" fmla="*/ 0 h 3712191"/>
              <a:gd name="connsiteX2" fmla="*/ 6564573 w 7806519"/>
              <a:gd name="connsiteY2" fmla="*/ 3712191 h 3712191"/>
              <a:gd name="connsiteX3" fmla="*/ 13648 w 7806519"/>
              <a:gd name="connsiteY3" fmla="*/ 3712191 h 3712191"/>
              <a:gd name="connsiteX4" fmla="*/ 0 w 7806519"/>
              <a:gd name="connsiteY4" fmla="*/ 0 h 3712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6519" h="3712191">
                <a:moveTo>
                  <a:pt x="0" y="0"/>
                </a:moveTo>
                <a:lnTo>
                  <a:pt x="7806519" y="0"/>
                </a:lnTo>
                <a:lnTo>
                  <a:pt x="6564573" y="3712191"/>
                </a:lnTo>
                <a:lnTo>
                  <a:pt x="13648" y="3712191"/>
                </a:lnTo>
                <a:cubicBezTo>
                  <a:pt x="9099" y="2474794"/>
                  <a:pt x="4549" y="1237397"/>
                  <a:pt x="0" y="0"/>
                </a:cubicBezTo>
                <a:close/>
              </a:path>
            </a:pathLst>
          </a:cu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972000" y="2772000"/>
            <a:ext cx="5616000" cy="1512000"/>
          </a:xfrm>
          <a:prstGeom prst="rect">
            <a:avLst/>
          </a:prstGeom>
        </p:spPr>
        <p:txBody>
          <a:bodyPr>
            <a:noAutofit/>
          </a:bodyPr>
          <a:lstStyle/>
          <a:p>
            <a:r>
              <a:rPr lang="en-US"/>
              <a:t>Click to edit Master title style</a:t>
            </a:r>
            <a:endParaRPr lang="en-GB" dirty="0"/>
          </a:p>
        </p:txBody>
      </p:sp>
      <p:sp>
        <p:nvSpPr>
          <p:cNvPr id="3" name="Subtitle 2"/>
          <p:cNvSpPr>
            <a:spLocks noGrp="1"/>
          </p:cNvSpPr>
          <p:nvPr>
            <p:ph type="subTitle" idx="1" hasCustomPrompt="1"/>
          </p:nvPr>
        </p:nvSpPr>
        <p:spPr>
          <a:xfrm>
            <a:off x="972000" y="4305600"/>
            <a:ext cx="5616000" cy="410400"/>
          </a:xfrm>
          <a:prstGeom prst="rect">
            <a:avLst/>
          </a:prstGeom>
        </p:spPr>
        <p:txBody>
          <a:bodyPr>
            <a:noAutofit/>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1430" y="1764084"/>
            <a:ext cx="1469814" cy="900000"/>
          </a:xfrm>
          <a:prstGeom prst="rect">
            <a:avLst/>
          </a:prstGeom>
        </p:spPr>
      </p:pic>
      <p:sp>
        <p:nvSpPr>
          <p:cNvPr id="8" name="Slide Number Placeholder 5"/>
          <p:cNvSpPr>
            <a:spLocks noGrp="1"/>
          </p:cNvSpPr>
          <p:nvPr>
            <p:ph type="sldNum" sz="quarter" idx="12"/>
          </p:nvPr>
        </p:nvSpPr>
        <p:spPr>
          <a:xfrm>
            <a:off x="468263" y="6369099"/>
            <a:ext cx="504056" cy="363538"/>
          </a:xfrm>
        </p:spPr>
        <p:txBody>
          <a:bodyPr/>
          <a:lstStyle>
            <a:lvl1pPr>
              <a:defRPr>
                <a:solidFill>
                  <a:schemeClr val="bg1"/>
                </a:solidFill>
              </a:defRPr>
            </a:lvl1pPr>
          </a:lstStyle>
          <a:p>
            <a:fld id="{C864BB8D-94B4-466C-94BF-D114C83BF951}" type="slidenum">
              <a:rPr lang="en-GB" smtClean="0"/>
              <a:pPr/>
              <a:t>‹#›</a:t>
            </a:fld>
            <a:endParaRPr lang="en-GB" dirty="0"/>
          </a:p>
        </p:txBody>
      </p:sp>
      <p:sp>
        <p:nvSpPr>
          <p:cNvPr id="9"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8 – All rights reserved</a:t>
            </a:r>
            <a:endParaRPr lang="fr-FR" dirty="0"/>
          </a:p>
        </p:txBody>
      </p:sp>
    </p:spTree>
    <p:extLst>
      <p:ext uri="{BB962C8B-B14F-4D97-AF65-F5344CB8AC3E}">
        <p14:creationId xmlns:p14="http://schemas.microsoft.com/office/powerpoint/2010/main" val="39709334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and textbox">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E5A24AD9-3741-4D46-91D0-031D98F50DC3}" type="slidenum">
              <a:rPr lang="en-US" smtClean="0"/>
              <a:pPr>
                <a:defRPr/>
              </a:pPr>
              <a:t>‹#›</a:t>
            </a:fld>
            <a:endParaRPr lang="en-US" dirty="0"/>
          </a:p>
        </p:txBody>
      </p:sp>
      <p:sp>
        <p:nvSpPr>
          <p:cNvPr id="5" name="Title Placeholder 1"/>
          <p:cNvSpPr>
            <a:spLocks noGrp="1"/>
          </p:cNvSpPr>
          <p:nvPr>
            <p:ph type="title"/>
          </p:nvPr>
        </p:nvSpPr>
        <p:spPr bwMode="auto">
          <a:xfrm>
            <a:off x="608489" y="273939"/>
            <a:ext cx="10952798" cy="1140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baseline="0"/>
            </a:lvl1pPr>
          </a:lstStyle>
          <a:p>
            <a:pPr lvl="0"/>
            <a:r>
              <a:rPr lang="sv-SE" altLang="en-US"/>
              <a:t>Klicka här för att ändra format</a:t>
            </a:r>
            <a:endParaRPr lang="en-US" altLang="en-US" dirty="0"/>
          </a:p>
        </p:txBody>
      </p:sp>
      <p:sp>
        <p:nvSpPr>
          <p:cNvPr id="6" name="Text Placeholder 5"/>
          <p:cNvSpPr>
            <a:spLocks noGrp="1"/>
          </p:cNvSpPr>
          <p:nvPr>
            <p:ph type="body" sz="quarter" idx="11"/>
          </p:nvPr>
        </p:nvSpPr>
        <p:spPr>
          <a:xfrm>
            <a:off x="623279" y="1553372"/>
            <a:ext cx="11020407" cy="4452684"/>
          </a:xfrm>
        </p:spPr>
        <p:txBody>
          <a:bodyPr/>
          <a:lstStyle>
            <a:lvl1pPr>
              <a:defRPr baseline="0"/>
            </a:lvl1pPr>
            <a:lvl4pPr>
              <a:defRPr/>
            </a:lvl4pPr>
          </a:lstStyle>
          <a:p>
            <a:pPr lvl="0"/>
            <a:r>
              <a:rPr lang="sv-SE"/>
              <a:t>Klicka här för att ändra format på bakgrundstexten</a:t>
            </a:r>
          </a:p>
          <a:p>
            <a:pPr lvl="1"/>
            <a:r>
              <a:rPr lang="sv-SE"/>
              <a:t>Nivå två</a:t>
            </a:r>
          </a:p>
          <a:p>
            <a:pPr lvl="2"/>
            <a:r>
              <a:rPr lang="sv-SE"/>
              <a:t>Nivå tre</a:t>
            </a:r>
          </a:p>
          <a:p>
            <a:pPr lvl="3"/>
            <a:r>
              <a:rPr lang="sv-SE"/>
              <a:t>Nivå fyra</a:t>
            </a:r>
          </a:p>
        </p:txBody>
      </p:sp>
      <p:sp>
        <p:nvSpPr>
          <p:cNvPr id="8" name="Text Placeholder 7"/>
          <p:cNvSpPr>
            <a:spLocks noGrp="1"/>
          </p:cNvSpPr>
          <p:nvPr>
            <p:ph type="body" sz="quarter" idx="12"/>
          </p:nvPr>
        </p:nvSpPr>
        <p:spPr>
          <a:xfrm>
            <a:off x="2251462" y="6292662"/>
            <a:ext cx="6325748" cy="288189"/>
          </a:xfrm>
        </p:spPr>
        <p:txBody>
          <a:bodyPr/>
          <a:lstStyle>
            <a:lvl1pPr marL="0" indent="0">
              <a:buFontTx/>
              <a:buNone/>
              <a:defRPr sz="1097">
                <a:solidFill>
                  <a:schemeClr val="bg2"/>
                </a:solidFill>
              </a:defRPr>
            </a:lvl1pPr>
            <a:lvl2pPr marL="456057" indent="0">
              <a:buFontTx/>
              <a:buNone/>
              <a:defRPr sz="1097">
                <a:solidFill>
                  <a:schemeClr val="bg2"/>
                </a:solidFill>
              </a:defRPr>
            </a:lvl2pPr>
            <a:lvl3pPr marL="912114" indent="0">
              <a:buFontTx/>
              <a:buNone/>
              <a:defRPr sz="1097">
                <a:solidFill>
                  <a:schemeClr val="bg2"/>
                </a:solidFill>
              </a:defRPr>
            </a:lvl3pPr>
            <a:lvl4pPr marL="1368171" indent="0">
              <a:buFontTx/>
              <a:buNone/>
              <a:defRPr sz="1097">
                <a:solidFill>
                  <a:schemeClr val="bg2"/>
                </a:solidFill>
              </a:defRPr>
            </a:lvl4pPr>
            <a:lvl5pPr marL="1824228" indent="0">
              <a:buFontTx/>
              <a:buNone/>
              <a:defRPr sz="1097">
                <a:solidFill>
                  <a:schemeClr val="bg2"/>
                </a:solidFill>
              </a:defRPr>
            </a:lvl5pPr>
          </a:lstStyle>
          <a:p>
            <a:pPr lvl="0"/>
            <a:r>
              <a:rPr lang="sv-SE"/>
              <a:t>Klicka här för att ändra format på bakgrundstexten</a:t>
            </a:r>
          </a:p>
        </p:txBody>
      </p:sp>
    </p:spTree>
    <p:extLst>
      <p:ext uri="{BB962C8B-B14F-4D97-AF65-F5344CB8AC3E}">
        <p14:creationId xmlns:p14="http://schemas.microsoft.com/office/powerpoint/2010/main" val="11887879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full color for 5th element and white bacground">
    <p:spTree>
      <p:nvGrpSpPr>
        <p:cNvPr id="1" name=""/>
        <p:cNvGrpSpPr/>
        <p:nvPr/>
      </p:nvGrpSpPr>
      <p:grpSpPr>
        <a:xfrm>
          <a:off x="0" y="0"/>
          <a:ext cx="0" cy="0"/>
          <a:chOff x="0" y="0"/>
          <a:chExt cx="0" cy="0"/>
        </a:xfrm>
      </p:grpSpPr>
      <p:sp>
        <p:nvSpPr>
          <p:cNvPr id="5" name="Freeform 4"/>
          <p:cNvSpPr/>
          <p:nvPr userDrawn="1"/>
        </p:nvSpPr>
        <p:spPr>
          <a:xfrm>
            <a:off x="-28576" y="1146412"/>
            <a:ext cx="7806519" cy="3712191"/>
          </a:xfrm>
          <a:custGeom>
            <a:avLst/>
            <a:gdLst>
              <a:gd name="connsiteX0" fmla="*/ 0 w 7806519"/>
              <a:gd name="connsiteY0" fmla="*/ 0 h 3712191"/>
              <a:gd name="connsiteX1" fmla="*/ 7806519 w 7806519"/>
              <a:gd name="connsiteY1" fmla="*/ 0 h 3712191"/>
              <a:gd name="connsiteX2" fmla="*/ 6564573 w 7806519"/>
              <a:gd name="connsiteY2" fmla="*/ 3712191 h 3712191"/>
              <a:gd name="connsiteX3" fmla="*/ 13648 w 7806519"/>
              <a:gd name="connsiteY3" fmla="*/ 3712191 h 3712191"/>
              <a:gd name="connsiteX4" fmla="*/ 0 w 7806519"/>
              <a:gd name="connsiteY4" fmla="*/ 0 h 3712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6519" h="3712191">
                <a:moveTo>
                  <a:pt x="0" y="0"/>
                </a:moveTo>
                <a:lnTo>
                  <a:pt x="7806519" y="0"/>
                </a:lnTo>
                <a:lnTo>
                  <a:pt x="6564573" y="3712191"/>
                </a:lnTo>
                <a:lnTo>
                  <a:pt x="13648" y="3712191"/>
                </a:lnTo>
                <a:cubicBezTo>
                  <a:pt x="9099" y="2474794"/>
                  <a:pt x="4549" y="1237397"/>
                  <a:pt x="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972000" y="2772365"/>
            <a:ext cx="5616000" cy="1512000"/>
          </a:xfrm>
          <a:prstGeom prst="rect">
            <a:avLst/>
          </a:prstGeom>
        </p:spPr>
        <p:txBody>
          <a:bodyPr>
            <a:noAutofit/>
          </a:bodyPr>
          <a:lstStyle/>
          <a:p>
            <a:r>
              <a:rPr lang="en-US"/>
              <a:t>Click to edit Master title style</a:t>
            </a:r>
            <a:endParaRPr lang="en-GB" dirty="0"/>
          </a:p>
        </p:txBody>
      </p:sp>
      <p:sp>
        <p:nvSpPr>
          <p:cNvPr id="3" name="Subtitle 2"/>
          <p:cNvSpPr>
            <a:spLocks noGrp="1"/>
          </p:cNvSpPr>
          <p:nvPr>
            <p:ph type="subTitle" idx="1" hasCustomPrompt="1"/>
          </p:nvPr>
        </p:nvSpPr>
        <p:spPr>
          <a:xfrm>
            <a:off x="972000" y="4305600"/>
            <a:ext cx="5616000" cy="410400"/>
          </a:xfrm>
          <a:prstGeom prst="rect">
            <a:avLst/>
          </a:prstGeom>
        </p:spPr>
        <p:txBody>
          <a:bodyPr>
            <a:noAutofit/>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1430" y="1764084"/>
            <a:ext cx="1469814" cy="900000"/>
          </a:xfrm>
          <a:prstGeom prst="rect">
            <a:avLst/>
          </a:prstGeom>
        </p:spPr>
      </p:pic>
      <p:sp>
        <p:nvSpPr>
          <p:cNvPr id="6" name="Footer Placeholder 1"/>
          <p:cNvSpPr>
            <a:spLocks noGrp="1"/>
          </p:cNvSpPr>
          <p:nvPr>
            <p:ph type="ftr" sz="quarter" idx="3"/>
          </p:nvPr>
        </p:nvSpPr>
        <p:spPr>
          <a:xfrm>
            <a:off x="1116335" y="6340475"/>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22103120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reserve="1">
  <p:cSld name="Transparent colour for picture background">
    <p:spTree>
      <p:nvGrpSpPr>
        <p:cNvPr id="1" name=""/>
        <p:cNvGrpSpPr/>
        <p:nvPr/>
      </p:nvGrpSpPr>
      <p:grpSpPr>
        <a:xfrm>
          <a:off x="0" y="0"/>
          <a:ext cx="0" cy="0"/>
          <a:chOff x="0" y="0"/>
          <a:chExt cx="0" cy="0"/>
        </a:xfrm>
      </p:grpSpPr>
      <p:sp>
        <p:nvSpPr>
          <p:cNvPr id="5" name="Freeform 4"/>
          <p:cNvSpPr/>
          <p:nvPr userDrawn="1"/>
        </p:nvSpPr>
        <p:spPr>
          <a:xfrm>
            <a:off x="-28576" y="1146412"/>
            <a:ext cx="7806519" cy="3712191"/>
          </a:xfrm>
          <a:custGeom>
            <a:avLst/>
            <a:gdLst>
              <a:gd name="connsiteX0" fmla="*/ 0 w 7806519"/>
              <a:gd name="connsiteY0" fmla="*/ 0 h 3712191"/>
              <a:gd name="connsiteX1" fmla="*/ 7806519 w 7806519"/>
              <a:gd name="connsiteY1" fmla="*/ 0 h 3712191"/>
              <a:gd name="connsiteX2" fmla="*/ 6564573 w 7806519"/>
              <a:gd name="connsiteY2" fmla="*/ 3712191 h 3712191"/>
              <a:gd name="connsiteX3" fmla="*/ 13648 w 7806519"/>
              <a:gd name="connsiteY3" fmla="*/ 3712191 h 3712191"/>
              <a:gd name="connsiteX4" fmla="*/ 0 w 7806519"/>
              <a:gd name="connsiteY4" fmla="*/ 0 h 3712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6519" h="3712191">
                <a:moveTo>
                  <a:pt x="0" y="0"/>
                </a:moveTo>
                <a:lnTo>
                  <a:pt x="7806519" y="0"/>
                </a:lnTo>
                <a:lnTo>
                  <a:pt x="6564573" y="3712191"/>
                </a:lnTo>
                <a:lnTo>
                  <a:pt x="13648" y="3712191"/>
                </a:lnTo>
                <a:cubicBezTo>
                  <a:pt x="9099" y="2474794"/>
                  <a:pt x="4549" y="1237397"/>
                  <a:pt x="0" y="0"/>
                </a:cubicBezTo>
                <a:close/>
              </a:path>
            </a:pathLst>
          </a:cu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972000" y="2772000"/>
            <a:ext cx="5616000" cy="1512000"/>
          </a:xfrm>
          <a:prstGeom prst="rect">
            <a:avLst/>
          </a:prstGeom>
        </p:spPr>
        <p:txBody>
          <a:bodyPr>
            <a:noAutofit/>
          </a:bodyPr>
          <a:lstStyle>
            <a:lvl1pPr>
              <a:defRPr sz="3200" i="0"/>
            </a:lvl1pPr>
          </a:lstStyle>
          <a:p>
            <a:r>
              <a:rPr lang="en-US" dirty="0"/>
              <a:t>Click to edit Master title style - Blue element with transparence for full picture background</a:t>
            </a:r>
            <a:br>
              <a:rPr lang="en-US" dirty="0"/>
            </a:br>
            <a:endParaRPr lang="en-GB" dirty="0"/>
          </a:p>
        </p:txBody>
      </p:sp>
      <p:sp>
        <p:nvSpPr>
          <p:cNvPr id="3" name="Subtitle 2"/>
          <p:cNvSpPr>
            <a:spLocks noGrp="1"/>
          </p:cNvSpPr>
          <p:nvPr>
            <p:ph type="subTitle" idx="1" hasCustomPrompt="1"/>
          </p:nvPr>
        </p:nvSpPr>
        <p:spPr>
          <a:xfrm>
            <a:off x="972000" y="4305600"/>
            <a:ext cx="5616000" cy="410400"/>
          </a:xfrm>
          <a:prstGeom prst="rect">
            <a:avLst/>
          </a:prstGeom>
        </p:spPr>
        <p:txBody>
          <a:bodyPr>
            <a:noAutofit/>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1430" y="1764084"/>
            <a:ext cx="1469814" cy="900000"/>
          </a:xfrm>
          <a:prstGeom prst="rect">
            <a:avLst/>
          </a:prstGeom>
        </p:spPr>
      </p:pic>
      <p:sp>
        <p:nvSpPr>
          <p:cNvPr id="6" name="Footer Placeholder 1"/>
          <p:cNvSpPr>
            <a:spLocks noGrp="1"/>
          </p:cNvSpPr>
          <p:nvPr>
            <p:ph type="ftr" sz="quarter" idx="3"/>
          </p:nvPr>
        </p:nvSpPr>
        <p:spPr>
          <a:xfrm>
            <a:off x="1116335" y="6340475"/>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350412090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tandard page">
    <p:spTree>
      <p:nvGrpSpPr>
        <p:cNvPr id="1" name=""/>
        <p:cNvGrpSpPr/>
        <p:nvPr/>
      </p:nvGrpSpPr>
      <p:grpSpPr>
        <a:xfrm>
          <a:off x="0" y="0"/>
          <a:ext cx="0" cy="0"/>
          <a:chOff x="0" y="0"/>
          <a:chExt cx="0" cy="0"/>
        </a:xfrm>
      </p:grpSpPr>
      <p:sp>
        <p:nvSpPr>
          <p:cNvPr id="2" name="Title 1"/>
          <p:cNvSpPr>
            <a:spLocks noGrp="1"/>
          </p:cNvSpPr>
          <p:nvPr>
            <p:ph type="title"/>
          </p:nvPr>
        </p:nvSpPr>
        <p:spPr>
          <a:xfrm>
            <a:off x="972319" y="408236"/>
            <a:ext cx="10297144" cy="1139825"/>
          </a:xfrm>
        </p:spPr>
        <p:txBody>
          <a:bodyPr/>
          <a:lstStyle/>
          <a:p>
            <a:r>
              <a:rPr lang="en-US" dirty="0"/>
              <a:t>Click to edit Master title style</a:t>
            </a:r>
            <a:endParaRPr lang="en-GB" dirty="0"/>
          </a:p>
        </p:txBody>
      </p:sp>
      <p:sp>
        <p:nvSpPr>
          <p:cNvPr id="3" name="Slide Number Placeholder 2"/>
          <p:cNvSpPr>
            <a:spLocks noGrp="1"/>
          </p:cNvSpPr>
          <p:nvPr>
            <p:ph type="sldNum" sz="quarter" idx="10"/>
          </p:nvPr>
        </p:nvSpPr>
        <p:spPr>
          <a:xfrm>
            <a:off x="540271" y="6369099"/>
            <a:ext cx="431279" cy="367036"/>
          </a:xfrm>
        </p:spPr>
        <p:txBody>
          <a:bodyPr/>
          <a:lstStyle/>
          <a:p>
            <a:fld id="{C864BB8D-94B4-466C-94BF-D114C83BF951}" type="slidenum">
              <a:rPr lang="en-GB" smtClean="0"/>
              <a:pPr/>
              <a:t>‹#›</a:t>
            </a:fld>
            <a:endParaRPr lang="en-GB"/>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7" name="Text Placeholder 6"/>
          <p:cNvSpPr>
            <a:spLocks noGrp="1"/>
          </p:cNvSpPr>
          <p:nvPr>
            <p:ph type="body" sz="quarter" idx="11"/>
          </p:nvPr>
        </p:nvSpPr>
        <p:spPr>
          <a:xfrm>
            <a:off x="971550" y="2001600"/>
            <a:ext cx="10297913" cy="3959671"/>
          </a:xfrm>
        </p:spPr>
        <p:txBody>
          <a:bodyPr/>
          <a:lstStyle>
            <a:lvl2pPr marL="174625" indent="-174625">
              <a:defRPr b="0"/>
            </a:lvl2pPr>
            <a:lvl3pPr marL="446088" indent="-182563">
              <a:defRPr/>
            </a:lvl3pPr>
          </a:lstStyle>
          <a:p>
            <a:pPr lvl="0"/>
            <a:r>
              <a:rPr lang="en-US" dirty="0"/>
              <a:t>Click to edit Master text styles</a:t>
            </a:r>
          </a:p>
          <a:p>
            <a:pPr lvl="1"/>
            <a:r>
              <a:rPr lang="en-US" dirty="0"/>
              <a:t>Second level</a:t>
            </a:r>
          </a:p>
          <a:p>
            <a:pPr lvl="2"/>
            <a:r>
              <a:rPr lang="en-US" dirty="0"/>
              <a:t>Third level</a:t>
            </a:r>
          </a:p>
        </p:txBody>
      </p:sp>
      <p:sp>
        <p:nvSpPr>
          <p:cNvPr id="9"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161617833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 columns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7" name="Content Placeholder 6"/>
          <p:cNvSpPr>
            <a:spLocks noGrp="1"/>
          </p:cNvSpPr>
          <p:nvPr>
            <p:ph sz="quarter" idx="11"/>
          </p:nvPr>
        </p:nvSpPr>
        <p:spPr>
          <a:xfrm>
            <a:off x="972319" y="1692077"/>
            <a:ext cx="4680520" cy="3888432"/>
          </a:xfrm>
        </p:spPr>
        <p:txBody>
          <a:bodyPr/>
          <a:lstStyle>
            <a:lvl2pPr>
              <a:defRPr b="0"/>
            </a:lvl2pPr>
          </a:lstStyle>
          <a:p>
            <a:pPr lvl="0"/>
            <a:r>
              <a:rPr lang="en-US" dirty="0"/>
              <a:t>Click to edit Master text styles</a:t>
            </a:r>
          </a:p>
          <a:p>
            <a:pPr lvl="1"/>
            <a:r>
              <a:rPr lang="en-US" dirty="0"/>
              <a:t>Second level</a:t>
            </a:r>
          </a:p>
          <a:p>
            <a:pPr lvl="2"/>
            <a:r>
              <a:rPr lang="en-US" dirty="0"/>
              <a:t>Third level</a:t>
            </a:r>
          </a:p>
        </p:txBody>
      </p:sp>
      <p:sp>
        <p:nvSpPr>
          <p:cNvPr id="9" name="Content Placeholder 8"/>
          <p:cNvSpPr>
            <a:spLocks noGrp="1"/>
          </p:cNvSpPr>
          <p:nvPr>
            <p:ph sz="quarter" idx="12"/>
          </p:nvPr>
        </p:nvSpPr>
        <p:spPr>
          <a:xfrm>
            <a:off x="6228903" y="1692077"/>
            <a:ext cx="5040312" cy="3888234"/>
          </a:xfrm>
        </p:spPr>
        <p:txBody>
          <a:bodyPr/>
          <a:lstStyle>
            <a:lvl2pPr>
              <a:defRPr b="0"/>
            </a:lvl2pPr>
          </a:lstStyle>
          <a:p>
            <a:pPr lvl="0"/>
            <a:r>
              <a:rPr lang="en-US" dirty="0"/>
              <a:t>Click to edit Master text styles</a:t>
            </a:r>
          </a:p>
          <a:p>
            <a:pPr lvl="1"/>
            <a:r>
              <a:rPr lang="en-US" dirty="0"/>
              <a:t>Second level</a:t>
            </a:r>
          </a:p>
          <a:p>
            <a:pPr lvl="2"/>
            <a:r>
              <a:rPr lang="en-US" dirty="0"/>
              <a:t>Third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416716243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Fifth element with picture on right side and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CF32B7-67E7-45F9-A962-ADCA304D1371}"/>
              </a:ext>
            </a:extLst>
          </p:cNvPr>
          <p:cNvSpPr>
            <a:spLocks noGrp="1"/>
          </p:cNvSpPr>
          <p:nvPr>
            <p:ph type="title"/>
          </p:nvPr>
        </p:nvSpPr>
        <p:spPr>
          <a:xfrm>
            <a:off x="972319" y="408236"/>
            <a:ext cx="5544616" cy="1139825"/>
          </a:xfrm>
        </p:spPr>
        <p:txBody>
          <a:bodyPr/>
          <a:lstStyle/>
          <a:p>
            <a:r>
              <a:rPr lang="en-US" dirty="0"/>
              <a:t>Click to edit Master title style</a:t>
            </a:r>
            <a:endParaRPr lang="sv-SE" dirty="0"/>
          </a:p>
        </p:txBody>
      </p:sp>
      <p:sp>
        <p:nvSpPr>
          <p:cNvPr id="3" name="Slide Number Placeholder 2">
            <a:extLst>
              <a:ext uri="{FF2B5EF4-FFF2-40B4-BE49-F238E27FC236}">
                <a16:creationId xmlns:a16="http://schemas.microsoft.com/office/drawing/2014/main" id="{D48C233D-E49A-49D2-A1BA-5C27EAC8F9DD}"/>
              </a:ext>
            </a:extLst>
          </p:cNvPr>
          <p:cNvSpPr>
            <a:spLocks noGrp="1"/>
          </p:cNvSpPr>
          <p:nvPr>
            <p:ph type="sldNum" sz="quarter" idx="10"/>
          </p:nvPr>
        </p:nvSpPr>
        <p:spPr/>
        <p:txBody>
          <a:bodyPr/>
          <a:lstStyle/>
          <a:p>
            <a:fld id="{C864BB8D-94B4-466C-94BF-D114C83BF951}" type="slidenum">
              <a:rPr lang="en-GB" smtClean="0"/>
              <a:pPr/>
              <a:t>‹#›</a:t>
            </a:fld>
            <a:endParaRPr lang="en-GB"/>
          </a:p>
        </p:txBody>
      </p:sp>
      <p:sp>
        <p:nvSpPr>
          <p:cNvPr id="4" name="Footer Placeholder 3">
            <a:extLst>
              <a:ext uri="{FF2B5EF4-FFF2-40B4-BE49-F238E27FC236}">
                <a16:creationId xmlns:a16="http://schemas.microsoft.com/office/drawing/2014/main" id="{5EC0407B-0028-4E56-B688-65172DAEDBFA}"/>
              </a:ext>
            </a:extLst>
          </p:cNvPr>
          <p:cNvSpPr>
            <a:spLocks noGrp="1"/>
          </p:cNvSpPr>
          <p:nvPr>
            <p:ph type="ftr" sz="quarter" idx="11"/>
          </p:nvPr>
        </p:nvSpPr>
        <p:spPr/>
        <p:txBody>
          <a:bodyPr/>
          <a:lstStyle/>
          <a:p>
            <a:r>
              <a:rPr lang="en-US"/>
              <a:t>© HL Display 2019 – All rights reserved</a:t>
            </a:r>
            <a:endParaRPr lang="fr-FR" dirty="0"/>
          </a:p>
        </p:txBody>
      </p:sp>
      <p:sp>
        <p:nvSpPr>
          <p:cNvPr id="6" name="Text Placeholder 6">
            <a:extLst>
              <a:ext uri="{FF2B5EF4-FFF2-40B4-BE49-F238E27FC236}">
                <a16:creationId xmlns:a16="http://schemas.microsoft.com/office/drawing/2014/main" id="{EA918214-0631-461A-AA9C-21FACF61B03F}"/>
              </a:ext>
            </a:extLst>
          </p:cNvPr>
          <p:cNvSpPr>
            <a:spLocks noGrp="1"/>
          </p:cNvSpPr>
          <p:nvPr>
            <p:ph type="body" sz="quarter" idx="13"/>
          </p:nvPr>
        </p:nvSpPr>
        <p:spPr>
          <a:xfrm>
            <a:off x="971551" y="2001600"/>
            <a:ext cx="5545384" cy="3959671"/>
          </a:xfrm>
        </p:spPr>
        <p:txBody>
          <a:bodyPr/>
          <a:lstStyle>
            <a:lvl2pPr marL="174625" indent="-174625">
              <a:defRPr b="0"/>
            </a:lvl2pPr>
            <a:lvl3pPr marL="446088" indent="-182563">
              <a:defRPr/>
            </a:lvl3pPr>
          </a:lstStyle>
          <a:p>
            <a:pPr lvl="0"/>
            <a:r>
              <a:rPr lang="en-US" dirty="0"/>
              <a:t>Click to edit Master text styles</a:t>
            </a:r>
          </a:p>
          <a:p>
            <a:pPr lvl="1"/>
            <a:r>
              <a:rPr lang="en-US" dirty="0"/>
              <a:t>Second level</a:t>
            </a:r>
          </a:p>
          <a:p>
            <a:pPr lvl="2"/>
            <a:r>
              <a:rPr lang="en-US" dirty="0"/>
              <a:t>Third level</a:t>
            </a:r>
          </a:p>
        </p:txBody>
      </p:sp>
      <p:sp>
        <p:nvSpPr>
          <p:cNvPr id="13" name="Picture Placeholder 4">
            <a:extLst>
              <a:ext uri="{FF2B5EF4-FFF2-40B4-BE49-F238E27FC236}">
                <a16:creationId xmlns:a16="http://schemas.microsoft.com/office/drawing/2014/main" id="{97031C2C-0CC6-46C0-AD15-7744DFE72B86}"/>
              </a:ext>
            </a:extLst>
          </p:cNvPr>
          <p:cNvSpPr>
            <a:spLocks noGrp="1"/>
          </p:cNvSpPr>
          <p:nvPr>
            <p:ph type="pic" sz="quarter" idx="14"/>
          </p:nvPr>
        </p:nvSpPr>
        <p:spPr>
          <a:xfrm>
            <a:off x="6559232" y="0"/>
            <a:ext cx="5610543" cy="6840538"/>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 name="connsiteX0" fmla="*/ 0 w 5610543"/>
              <a:gd name="connsiteY0" fmla="*/ 0 h 6840538"/>
              <a:gd name="connsiteX1" fmla="*/ 5580063 w 5610543"/>
              <a:gd name="connsiteY1" fmla="*/ 0 h 6840538"/>
              <a:gd name="connsiteX2" fmla="*/ 5610543 w 5610543"/>
              <a:gd name="connsiteY2" fmla="*/ 6825299 h 6840538"/>
              <a:gd name="connsiteX3" fmla="*/ 0 w 5610543"/>
              <a:gd name="connsiteY3" fmla="*/ 6840538 h 6840538"/>
              <a:gd name="connsiteX4" fmla="*/ 0 w 5610543"/>
              <a:gd name="connsiteY4" fmla="*/ 0 h 6840538"/>
              <a:gd name="connsiteX0" fmla="*/ 2246811 w 5610543"/>
              <a:gd name="connsiteY0" fmla="*/ 0 h 6840538"/>
              <a:gd name="connsiteX1" fmla="*/ 5580063 w 5610543"/>
              <a:gd name="connsiteY1" fmla="*/ 0 h 6840538"/>
              <a:gd name="connsiteX2" fmla="*/ 5610543 w 5610543"/>
              <a:gd name="connsiteY2" fmla="*/ 6825299 h 6840538"/>
              <a:gd name="connsiteX3" fmla="*/ 0 w 5610543"/>
              <a:gd name="connsiteY3" fmla="*/ 6840538 h 6840538"/>
              <a:gd name="connsiteX4" fmla="*/ 2246811 w 5610543"/>
              <a:gd name="connsiteY4" fmla="*/ 0 h 684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0543" h="6840538">
                <a:moveTo>
                  <a:pt x="2246811" y="0"/>
                </a:moveTo>
                <a:lnTo>
                  <a:pt x="5580063" y="0"/>
                </a:lnTo>
                <a:lnTo>
                  <a:pt x="5610543" y="6825299"/>
                </a:lnTo>
                <a:lnTo>
                  <a:pt x="0" y="6840538"/>
                </a:lnTo>
                <a:lnTo>
                  <a:pt x="2246811" y="0"/>
                </a:lnTo>
                <a:close/>
              </a:path>
            </a:pathLst>
          </a:custGeom>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336652339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Fifth element with picture on left side with white background">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p>
            <a:endParaRPr lang="en-GB" dirty="0"/>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8" name="Title 1">
            <a:extLst>
              <a:ext uri="{FF2B5EF4-FFF2-40B4-BE49-F238E27FC236}">
                <a16:creationId xmlns:a16="http://schemas.microsoft.com/office/drawing/2014/main" id="{C8BB1FAE-292E-4157-8976-7FE70CE00F3C}"/>
              </a:ext>
            </a:extLst>
          </p:cNvPr>
          <p:cNvSpPr>
            <a:spLocks noGrp="1"/>
          </p:cNvSpPr>
          <p:nvPr>
            <p:ph type="title"/>
          </p:nvPr>
        </p:nvSpPr>
        <p:spPr>
          <a:xfrm>
            <a:off x="5580063" y="1476053"/>
            <a:ext cx="5544616" cy="1139825"/>
          </a:xfrm>
        </p:spPr>
        <p:txBody>
          <a:bodyPr/>
          <a:lstStyle/>
          <a:p>
            <a:r>
              <a:rPr lang="en-US" dirty="0"/>
              <a:t>Click to edit Master title style</a:t>
            </a:r>
            <a:endParaRPr lang="sv-SE" dirty="0"/>
          </a:p>
        </p:txBody>
      </p:sp>
      <p:sp>
        <p:nvSpPr>
          <p:cNvPr id="9" name="Text Placeholder 6">
            <a:extLst>
              <a:ext uri="{FF2B5EF4-FFF2-40B4-BE49-F238E27FC236}">
                <a16:creationId xmlns:a16="http://schemas.microsoft.com/office/drawing/2014/main" id="{9A537318-C454-4000-AF34-50B2B34EEB8A}"/>
              </a:ext>
            </a:extLst>
          </p:cNvPr>
          <p:cNvSpPr>
            <a:spLocks noGrp="1"/>
          </p:cNvSpPr>
          <p:nvPr>
            <p:ph type="body" sz="quarter" idx="13"/>
          </p:nvPr>
        </p:nvSpPr>
        <p:spPr>
          <a:xfrm>
            <a:off x="5581850" y="2700190"/>
            <a:ext cx="5545384" cy="3096344"/>
          </a:xfrm>
        </p:spPr>
        <p:txBody>
          <a:bodyPr/>
          <a:lstStyle>
            <a:lvl1pPr>
              <a:defRPr>
                <a:solidFill>
                  <a:schemeClr val="tx1">
                    <a:lumMod val="60000"/>
                    <a:lumOff val="40000"/>
                  </a:schemeClr>
                </a:solidFill>
              </a:defRPr>
            </a:lvl1pPr>
            <a:lvl2pPr marL="174625" indent="-174625">
              <a:defRPr b="0">
                <a:solidFill>
                  <a:schemeClr val="tx1">
                    <a:lumMod val="60000"/>
                    <a:lumOff val="40000"/>
                  </a:schemeClr>
                </a:solidFill>
              </a:defRPr>
            </a:lvl2pPr>
            <a:lvl3pPr marL="446088" indent="-182563">
              <a:defRPr>
                <a:solidFill>
                  <a:schemeClr val="tx1">
                    <a:lumMod val="60000"/>
                    <a:lumOff val="40000"/>
                  </a:schemeClr>
                </a:solidFill>
              </a:defRPr>
            </a:lvl3pPr>
          </a:lstStyle>
          <a:p>
            <a:pPr lvl="0"/>
            <a:r>
              <a:rPr lang="en-US" dirty="0"/>
              <a:t>Click to edit Master text styles</a:t>
            </a:r>
          </a:p>
          <a:p>
            <a:pPr lvl="1"/>
            <a:r>
              <a:rPr lang="en-US" dirty="0"/>
              <a:t>Second level</a:t>
            </a:r>
          </a:p>
          <a:p>
            <a:pPr lvl="2"/>
            <a:r>
              <a:rPr lang="en-US" dirty="0"/>
              <a:t>Third level</a:t>
            </a:r>
          </a:p>
        </p:txBody>
      </p:sp>
      <p:sp>
        <p:nvSpPr>
          <p:cNvPr id="11" name="Slide Number Placeholder 5">
            <a:extLst>
              <a:ext uri="{FF2B5EF4-FFF2-40B4-BE49-F238E27FC236}">
                <a16:creationId xmlns:a16="http://schemas.microsoft.com/office/drawing/2014/main" id="{68058425-CE1E-4614-9BA2-469816F85DE2}"/>
              </a:ext>
            </a:extLst>
          </p:cNvPr>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rtl="0" fontAlgn="base">
              <a:spcBef>
                <a:spcPct val="0"/>
              </a:spcBef>
              <a:spcAft>
                <a:spcPct val="0"/>
              </a:spcAft>
              <a:defRPr lang="en-GB" sz="1000" kern="1200" smtClean="0">
                <a:solidFill>
                  <a:schemeClr val="bg1"/>
                </a:solidFill>
                <a:latin typeface="Arial" pitchFamily="34" charset="0"/>
                <a:ea typeface="+mn-ea"/>
                <a:cs typeface="Arial" pitchFamily="34" charset="0"/>
              </a:defRPr>
            </a:lvl1pPr>
          </a:lstStyle>
          <a:p>
            <a:fld id="{C864BB8D-94B4-466C-94BF-D114C83BF951}" type="slidenum">
              <a:rPr lang="sv-SE" smtClean="0"/>
              <a:pPr/>
              <a:t>‹#›</a:t>
            </a:fld>
            <a:endParaRPr lang="sv-SE" dirty="0"/>
          </a:p>
        </p:txBody>
      </p:sp>
      <p:sp>
        <p:nvSpPr>
          <p:cNvPr id="12" name="Footer Placeholder 3">
            <a:extLst>
              <a:ext uri="{FF2B5EF4-FFF2-40B4-BE49-F238E27FC236}">
                <a16:creationId xmlns:a16="http://schemas.microsoft.com/office/drawing/2014/main" id="{F4E754B6-AB21-4195-B464-531BCF6DB10D}"/>
              </a:ext>
            </a:extLst>
          </p:cNvPr>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84026468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ue fifth element with white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8B57492-A1DF-4E96-AC19-E82F25ADCE3D}"/>
              </a:ext>
            </a:extLst>
          </p:cNvPr>
          <p:cNvSpPr/>
          <p:nvPr userDrawn="1"/>
        </p:nvSpPr>
        <p:spPr>
          <a:xfrm>
            <a:off x="0" y="0"/>
            <a:ext cx="5580063" cy="6851424"/>
          </a:xfrm>
          <a:custGeom>
            <a:avLst/>
            <a:gdLst>
              <a:gd name="connsiteX0" fmla="*/ 0 w 5580063"/>
              <a:gd name="connsiteY0" fmla="*/ 0 h 6851424"/>
              <a:gd name="connsiteX1" fmla="*/ 5580063 w 5580063"/>
              <a:gd name="connsiteY1" fmla="*/ 0 h 6851424"/>
              <a:gd name="connsiteX2" fmla="*/ 5580063 w 5580063"/>
              <a:gd name="connsiteY2" fmla="*/ 6851424 h 6851424"/>
              <a:gd name="connsiteX3" fmla="*/ 0 w 5580063"/>
              <a:gd name="connsiteY3" fmla="*/ 6851424 h 6851424"/>
              <a:gd name="connsiteX4" fmla="*/ 0 w 5580063"/>
              <a:gd name="connsiteY4" fmla="*/ 0 h 6851424"/>
              <a:gd name="connsiteX0" fmla="*/ 0 w 5580063"/>
              <a:gd name="connsiteY0" fmla="*/ 0 h 6861934"/>
              <a:gd name="connsiteX1" fmla="*/ 5580063 w 5580063"/>
              <a:gd name="connsiteY1" fmla="*/ 0 h 6861934"/>
              <a:gd name="connsiteX2" fmla="*/ 3898408 w 5580063"/>
              <a:gd name="connsiteY2" fmla="*/ 6861934 h 6861934"/>
              <a:gd name="connsiteX3" fmla="*/ 0 w 5580063"/>
              <a:gd name="connsiteY3" fmla="*/ 6851424 h 6861934"/>
              <a:gd name="connsiteX4" fmla="*/ 0 w 5580063"/>
              <a:gd name="connsiteY4" fmla="*/ 0 h 6861934"/>
              <a:gd name="connsiteX0" fmla="*/ 0 w 5580063"/>
              <a:gd name="connsiteY0" fmla="*/ 0 h 6851424"/>
              <a:gd name="connsiteX1" fmla="*/ 5580063 w 5580063"/>
              <a:gd name="connsiteY1" fmla="*/ 0 h 6851424"/>
              <a:gd name="connsiteX2" fmla="*/ 3057580 w 5580063"/>
              <a:gd name="connsiteY2" fmla="*/ 6851424 h 6851424"/>
              <a:gd name="connsiteX3" fmla="*/ 0 w 5580063"/>
              <a:gd name="connsiteY3" fmla="*/ 6851424 h 6851424"/>
              <a:gd name="connsiteX4" fmla="*/ 0 w 5580063"/>
              <a:gd name="connsiteY4" fmla="*/ 0 h 6851424"/>
              <a:gd name="connsiteX0" fmla="*/ 0 w 5580063"/>
              <a:gd name="connsiteY0" fmla="*/ 0 h 6851424"/>
              <a:gd name="connsiteX1" fmla="*/ 5580063 w 5580063"/>
              <a:gd name="connsiteY1" fmla="*/ 0 h 6851424"/>
              <a:gd name="connsiteX2" fmla="*/ 3404422 w 5580063"/>
              <a:gd name="connsiteY2" fmla="*/ 6851424 h 6851424"/>
              <a:gd name="connsiteX3" fmla="*/ 0 w 5580063"/>
              <a:gd name="connsiteY3" fmla="*/ 6851424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4422" y="6851424"/>
                </a:lnTo>
                <a:lnTo>
                  <a:pt x="0" y="6851424"/>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9" name="Picture 8">
            <a:extLst>
              <a:ext uri="{FF2B5EF4-FFF2-40B4-BE49-F238E27FC236}">
                <a16:creationId xmlns:a16="http://schemas.microsoft.com/office/drawing/2014/main" id="{8793E735-61BB-4E89-AE53-0D73BFF0209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12" name="Title 1">
            <a:extLst>
              <a:ext uri="{FF2B5EF4-FFF2-40B4-BE49-F238E27FC236}">
                <a16:creationId xmlns:a16="http://schemas.microsoft.com/office/drawing/2014/main" id="{324132B0-42DE-4393-87CC-00E1B0AD21EF}"/>
              </a:ext>
            </a:extLst>
          </p:cNvPr>
          <p:cNvSpPr>
            <a:spLocks noGrp="1"/>
          </p:cNvSpPr>
          <p:nvPr>
            <p:ph type="title"/>
          </p:nvPr>
        </p:nvSpPr>
        <p:spPr>
          <a:xfrm>
            <a:off x="5580063" y="1476053"/>
            <a:ext cx="5544616" cy="1139825"/>
          </a:xfrm>
        </p:spPr>
        <p:txBody>
          <a:bodyPr/>
          <a:lstStyle/>
          <a:p>
            <a:r>
              <a:rPr lang="en-US" dirty="0"/>
              <a:t>Click to edit Master title style</a:t>
            </a:r>
            <a:endParaRPr lang="sv-SE" dirty="0"/>
          </a:p>
        </p:txBody>
      </p:sp>
      <p:sp>
        <p:nvSpPr>
          <p:cNvPr id="13" name="Text Placeholder 6">
            <a:extLst>
              <a:ext uri="{FF2B5EF4-FFF2-40B4-BE49-F238E27FC236}">
                <a16:creationId xmlns:a16="http://schemas.microsoft.com/office/drawing/2014/main" id="{25D070B2-C554-43E5-88F5-599106F7B893}"/>
              </a:ext>
            </a:extLst>
          </p:cNvPr>
          <p:cNvSpPr>
            <a:spLocks noGrp="1"/>
          </p:cNvSpPr>
          <p:nvPr>
            <p:ph type="body" sz="quarter" idx="13"/>
          </p:nvPr>
        </p:nvSpPr>
        <p:spPr>
          <a:xfrm>
            <a:off x="5581850" y="2700190"/>
            <a:ext cx="5545384" cy="3096344"/>
          </a:xfrm>
        </p:spPr>
        <p:txBody>
          <a:bodyPr/>
          <a:lstStyle>
            <a:lvl2pPr marL="174625" indent="-174625">
              <a:defRPr b="0"/>
            </a:lvl2pPr>
            <a:lvl3pPr marL="446088" indent="-182563">
              <a:defRPr/>
            </a:lvl3pPr>
          </a:lstStyle>
          <a:p>
            <a:pPr lvl="0"/>
            <a:r>
              <a:rPr lang="en-US" dirty="0"/>
              <a:t>Click to edit Master text styles</a:t>
            </a:r>
          </a:p>
          <a:p>
            <a:pPr lvl="1"/>
            <a:r>
              <a:rPr lang="en-US" dirty="0"/>
              <a:t>Second level</a:t>
            </a:r>
          </a:p>
          <a:p>
            <a:pPr lvl="2"/>
            <a:r>
              <a:rPr lang="en-US" dirty="0"/>
              <a:t>Third level</a:t>
            </a:r>
          </a:p>
        </p:txBody>
      </p:sp>
      <p:sp>
        <p:nvSpPr>
          <p:cNvPr id="14" name="Slide Number Placeholder 5">
            <a:extLst>
              <a:ext uri="{FF2B5EF4-FFF2-40B4-BE49-F238E27FC236}">
                <a16:creationId xmlns:a16="http://schemas.microsoft.com/office/drawing/2014/main" id="{5195999A-453B-4589-BDE4-5E44A837CB34}"/>
              </a:ext>
            </a:extLst>
          </p:cNvPr>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rtl="0" fontAlgn="base">
              <a:spcBef>
                <a:spcPct val="0"/>
              </a:spcBef>
              <a:spcAft>
                <a:spcPct val="0"/>
              </a:spcAft>
              <a:defRPr lang="en-GB" sz="1000" kern="1200" smtClean="0">
                <a:solidFill>
                  <a:schemeClr val="bg1"/>
                </a:solidFill>
                <a:latin typeface="Arial" pitchFamily="34" charset="0"/>
                <a:ea typeface="+mn-ea"/>
                <a:cs typeface="Arial" pitchFamily="34" charset="0"/>
              </a:defRPr>
            </a:lvl1pPr>
          </a:lstStyle>
          <a:p>
            <a:fld id="{C864BB8D-94B4-466C-94BF-D114C83BF951}" type="slidenum">
              <a:rPr lang="sv-SE" smtClean="0"/>
              <a:pPr/>
              <a:t>‹#›</a:t>
            </a:fld>
            <a:endParaRPr lang="sv-SE" dirty="0"/>
          </a:p>
        </p:txBody>
      </p:sp>
      <p:sp>
        <p:nvSpPr>
          <p:cNvPr id="15" name="Footer Placeholder 3">
            <a:extLst>
              <a:ext uri="{FF2B5EF4-FFF2-40B4-BE49-F238E27FC236}">
                <a16:creationId xmlns:a16="http://schemas.microsoft.com/office/drawing/2014/main" id="{E80D1143-1255-4380-B644-73BF4291E6EB}"/>
              </a:ext>
            </a:extLst>
          </p:cNvPr>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324938458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lose ups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fr-FR" dirty="0"/>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4" name="Picture Placeholder 4"/>
          <p:cNvSpPr>
            <a:spLocks noGrp="1"/>
          </p:cNvSpPr>
          <p:nvPr>
            <p:ph type="pic" sz="quarter" idx="12"/>
          </p:nvPr>
        </p:nvSpPr>
        <p:spPr>
          <a:xfrm>
            <a:off x="5051684" y="1680210"/>
            <a:ext cx="3444632" cy="3180218"/>
          </a:xfrm>
        </p:spPr>
        <p:txBody>
          <a:bodyPr/>
          <a:lstStyle/>
          <a:p>
            <a:endParaRPr lang="fr-FR"/>
          </a:p>
        </p:txBody>
      </p:sp>
      <p:sp>
        <p:nvSpPr>
          <p:cNvPr id="5" name="Picture Placeholder 4"/>
          <p:cNvSpPr>
            <a:spLocks noGrp="1"/>
          </p:cNvSpPr>
          <p:nvPr>
            <p:ph type="pic" sz="quarter" idx="13"/>
          </p:nvPr>
        </p:nvSpPr>
        <p:spPr>
          <a:xfrm>
            <a:off x="8725143" y="1680210"/>
            <a:ext cx="3444632" cy="3180218"/>
          </a:xfrm>
        </p:spPr>
        <p:txBody>
          <a:bodyPr/>
          <a:lstStyle/>
          <a:p>
            <a:endParaRPr lang="fr-FR"/>
          </a:p>
        </p:txBody>
      </p:sp>
      <p:sp>
        <p:nvSpPr>
          <p:cNvPr id="6" name="Text Placeholder 15"/>
          <p:cNvSpPr>
            <a:spLocks noGrp="1"/>
          </p:cNvSpPr>
          <p:nvPr>
            <p:ph type="body" sz="quarter" idx="17"/>
          </p:nvPr>
        </p:nvSpPr>
        <p:spPr>
          <a:xfrm>
            <a:off x="1188343" y="5076230"/>
            <a:ext cx="3634482" cy="360263"/>
          </a:xfrm>
        </p:spPr>
        <p:txBody>
          <a:bodyPr>
            <a:noAutofit/>
          </a:bodyPr>
          <a:lstStyle>
            <a:lvl1pPr>
              <a:defRPr sz="1600"/>
            </a:lvl1pPr>
          </a:lstStyle>
          <a:p>
            <a:pPr lvl="0"/>
            <a:r>
              <a:rPr lang="en-US" dirty="0"/>
              <a:t>Edit Master text styles</a:t>
            </a:r>
          </a:p>
        </p:txBody>
      </p:sp>
      <p:sp>
        <p:nvSpPr>
          <p:cNvPr id="7" name="Text Placeholder 15"/>
          <p:cNvSpPr>
            <a:spLocks noGrp="1"/>
          </p:cNvSpPr>
          <p:nvPr>
            <p:ph type="body" sz="quarter" idx="18"/>
          </p:nvPr>
        </p:nvSpPr>
        <p:spPr>
          <a:xfrm>
            <a:off x="5042822" y="5076230"/>
            <a:ext cx="3444907" cy="360263"/>
          </a:xfrm>
        </p:spPr>
        <p:txBody>
          <a:bodyPr>
            <a:noAutofit/>
          </a:bodyPr>
          <a:lstStyle>
            <a:lvl1pPr>
              <a:defRPr sz="1600"/>
            </a:lvl1pPr>
          </a:lstStyle>
          <a:p>
            <a:pPr lvl="0"/>
            <a:r>
              <a:rPr lang="en-US" dirty="0"/>
              <a:t>Edit Master text styles</a:t>
            </a:r>
          </a:p>
        </p:txBody>
      </p:sp>
      <p:sp>
        <p:nvSpPr>
          <p:cNvPr id="8" name="Text Placeholder 15"/>
          <p:cNvSpPr>
            <a:spLocks noGrp="1"/>
          </p:cNvSpPr>
          <p:nvPr>
            <p:ph type="body" sz="quarter" idx="19"/>
          </p:nvPr>
        </p:nvSpPr>
        <p:spPr>
          <a:xfrm>
            <a:off x="8707694" y="5076230"/>
            <a:ext cx="3444907" cy="360263"/>
          </a:xfrm>
        </p:spPr>
        <p:txBody>
          <a:bodyPr>
            <a:noAutofit/>
          </a:bodyPr>
          <a:lstStyle>
            <a:lvl1pPr>
              <a:defRPr sz="1600"/>
            </a:lvl1pPr>
          </a:lstStyle>
          <a:p>
            <a:pPr lvl="0"/>
            <a:r>
              <a:rPr lang="en-US" dirty="0"/>
              <a:t>Edit Master text styles</a:t>
            </a:r>
          </a:p>
        </p:txBody>
      </p:sp>
      <p:sp>
        <p:nvSpPr>
          <p:cNvPr id="9" name="Picture Placeholder 28"/>
          <p:cNvSpPr>
            <a:spLocks noGrp="1"/>
          </p:cNvSpPr>
          <p:nvPr>
            <p:ph type="pic" sz="quarter" idx="20"/>
          </p:nvPr>
        </p:nvSpPr>
        <p:spPr>
          <a:xfrm>
            <a:off x="1239053" y="1680210"/>
            <a:ext cx="3583772" cy="3161274"/>
          </a:xfrm>
          <a:custGeom>
            <a:avLst/>
            <a:gdLst>
              <a:gd name="connsiteX0" fmla="*/ 0 w 3444875"/>
              <a:gd name="connsiteY0" fmla="*/ 3149699 h 3149699"/>
              <a:gd name="connsiteX1" fmla="*/ 787425 w 3444875"/>
              <a:gd name="connsiteY1" fmla="*/ 0 h 3149699"/>
              <a:gd name="connsiteX2" fmla="*/ 3444875 w 3444875"/>
              <a:gd name="connsiteY2" fmla="*/ 0 h 3149699"/>
              <a:gd name="connsiteX3" fmla="*/ 2657450 w 3444875"/>
              <a:gd name="connsiteY3" fmla="*/ 3149699 h 3149699"/>
              <a:gd name="connsiteX4" fmla="*/ 0 w 3444875"/>
              <a:gd name="connsiteY4" fmla="*/ 3149699 h 3149699"/>
              <a:gd name="connsiteX0" fmla="*/ 0 w 3444875"/>
              <a:gd name="connsiteY0" fmla="*/ 3149699 h 3161274"/>
              <a:gd name="connsiteX1" fmla="*/ 787425 w 3444875"/>
              <a:gd name="connsiteY1" fmla="*/ 0 h 3161274"/>
              <a:gd name="connsiteX2" fmla="*/ 3444875 w 3444875"/>
              <a:gd name="connsiteY2" fmla="*/ 0 h 3161274"/>
              <a:gd name="connsiteX3" fmla="*/ 3375081 w 3444875"/>
              <a:gd name="connsiteY3" fmla="*/ 3161274 h 3161274"/>
              <a:gd name="connsiteX4" fmla="*/ 0 w 3444875"/>
              <a:gd name="connsiteY4" fmla="*/ 3149699 h 3161274"/>
              <a:gd name="connsiteX0" fmla="*/ 0 w 3444875"/>
              <a:gd name="connsiteY0" fmla="*/ 3149699 h 3161274"/>
              <a:gd name="connsiteX1" fmla="*/ 787425 w 3444875"/>
              <a:gd name="connsiteY1" fmla="*/ 0 h 3161274"/>
              <a:gd name="connsiteX2" fmla="*/ 3444875 w 3444875"/>
              <a:gd name="connsiteY2" fmla="*/ 0 h 3161274"/>
              <a:gd name="connsiteX3" fmla="*/ 3432955 w 3444875"/>
              <a:gd name="connsiteY3" fmla="*/ 3161274 h 3161274"/>
              <a:gd name="connsiteX4" fmla="*/ 0 w 3444875"/>
              <a:gd name="connsiteY4" fmla="*/ 3149699 h 3161274"/>
              <a:gd name="connsiteX0" fmla="*/ 0 w 3583772"/>
              <a:gd name="connsiteY0" fmla="*/ 3161274 h 3161274"/>
              <a:gd name="connsiteX1" fmla="*/ 926322 w 3583772"/>
              <a:gd name="connsiteY1" fmla="*/ 0 h 3161274"/>
              <a:gd name="connsiteX2" fmla="*/ 3583772 w 3583772"/>
              <a:gd name="connsiteY2" fmla="*/ 0 h 3161274"/>
              <a:gd name="connsiteX3" fmla="*/ 3571852 w 3583772"/>
              <a:gd name="connsiteY3" fmla="*/ 3161274 h 3161274"/>
              <a:gd name="connsiteX4" fmla="*/ 0 w 3583772"/>
              <a:gd name="connsiteY4" fmla="*/ 3161274 h 3161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3772" h="3161274">
                <a:moveTo>
                  <a:pt x="0" y="3161274"/>
                </a:moveTo>
                <a:lnTo>
                  <a:pt x="926322" y="0"/>
                </a:lnTo>
                <a:lnTo>
                  <a:pt x="3583772" y="0"/>
                </a:lnTo>
                <a:cubicBezTo>
                  <a:pt x="3579799" y="1053758"/>
                  <a:pt x="3575825" y="2107516"/>
                  <a:pt x="3571852" y="3161274"/>
                </a:cubicBezTo>
                <a:lnTo>
                  <a:pt x="0" y="3161274"/>
                </a:lnTo>
                <a:close/>
              </a:path>
            </a:pathLst>
          </a:custGeom>
          <a:noFill/>
        </p:spPr>
        <p:txBody>
          <a:bodyPr/>
          <a:lstStyle/>
          <a:p>
            <a:endParaRPr lang="fr-FR" dirty="0"/>
          </a:p>
        </p:txBody>
      </p:sp>
      <p:sp>
        <p:nvSpPr>
          <p:cNvPr id="11"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pic>
        <p:nvPicPr>
          <p:cNvPr id="12" name="Picture 11">
            <a:extLst>
              <a:ext uri="{FF2B5EF4-FFF2-40B4-BE49-F238E27FC236}">
                <a16:creationId xmlns:a16="http://schemas.microsoft.com/office/drawing/2014/main" id="{7265A276-E0C9-41CF-9573-D3228C6D698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Tree>
    <p:extLst>
      <p:ext uri="{BB962C8B-B14F-4D97-AF65-F5344CB8AC3E}">
        <p14:creationId xmlns:p14="http://schemas.microsoft.com/office/powerpoint/2010/main" val="29537478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hapter pa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0165" y="1908101"/>
            <a:ext cx="10589444" cy="995809"/>
          </a:xfrm>
        </p:spPr>
        <p:txBody>
          <a:bodyPr>
            <a:noAutofit/>
          </a:bodyPr>
          <a:lstStyle>
            <a:lvl1pPr algn="ctr">
              <a:defRPr sz="4000">
                <a:solidFill>
                  <a:schemeClr val="bg2"/>
                </a:solidFill>
              </a:defRPr>
            </a:lvl1pPr>
          </a:lstStyle>
          <a:p>
            <a:r>
              <a:rPr lang="en-US" dirty="0"/>
              <a:t>Click to edit Master title style</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
        <p:nvSpPr>
          <p:cNvPr id="7"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16184527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loured 5th element and background picture">
    <p:bg>
      <p:bgPr>
        <a:solidFill>
          <a:schemeClr val="tx2"/>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p>
            <a:endParaRPr lang="en-GB" dirty="0"/>
          </a:p>
        </p:txBody>
      </p:sp>
      <p:sp>
        <p:nvSpPr>
          <p:cNvPr id="2" name="Title 1"/>
          <p:cNvSpPr>
            <a:spLocks noGrp="1"/>
          </p:cNvSpPr>
          <p:nvPr>
            <p:ph type="title"/>
          </p:nvPr>
        </p:nvSpPr>
        <p:spPr>
          <a:xfrm>
            <a:off x="8206989" y="2484165"/>
            <a:ext cx="3566530" cy="2940025"/>
          </a:xfrm>
        </p:spPr>
        <p:txBody>
          <a:bodyPr>
            <a:noAutofit/>
          </a:bodyPr>
          <a:lstStyle>
            <a:lvl1pPr algn="r">
              <a:defRPr sz="4000">
                <a:solidFill>
                  <a:schemeClr val="bg2"/>
                </a:solidFill>
              </a:defRPr>
            </a:lvl1pPr>
          </a:lstStyle>
          <a:p>
            <a:r>
              <a:rPr lang="en-US" dirty="0"/>
              <a:t>Click to edit Master title style</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4" name="Text Placeholder 3"/>
          <p:cNvSpPr>
            <a:spLocks noGrp="1"/>
          </p:cNvSpPr>
          <p:nvPr>
            <p:ph type="body" sz="quarter" idx="13"/>
          </p:nvPr>
        </p:nvSpPr>
        <p:spPr>
          <a:xfrm>
            <a:off x="467742" y="467941"/>
            <a:ext cx="2880841" cy="4608512"/>
          </a:xfrm>
        </p:spPr>
        <p:txBody>
          <a:bodyPr/>
          <a:lstStyle>
            <a:lvl1pPr>
              <a:defRPr sz="4000">
                <a:solidFill>
                  <a:schemeClr val="bg2"/>
                </a:solidFill>
              </a:defRPr>
            </a:lvl1pPr>
          </a:lstStyle>
          <a:p>
            <a:pPr lvl="0"/>
            <a:r>
              <a:rPr lang="en-US" dirty="0"/>
              <a:t>Edit Master text styles</a:t>
            </a:r>
          </a:p>
        </p:txBody>
      </p:sp>
      <p:sp>
        <p:nvSpPr>
          <p:cNvPr id="8"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8 – All rights reserved</a:t>
            </a:r>
            <a:endParaRPr lang="fr-FR" dirty="0"/>
          </a:p>
        </p:txBody>
      </p:sp>
    </p:spTree>
    <p:extLst>
      <p:ext uri="{BB962C8B-B14F-4D97-AF65-F5344CB8AC3E}">
        <p14:creationId xmlns:p14="http://schemas.microsoft.com/office/powerpoint/2010/main" val="172897757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framed picture + coloured slide">
    <p:bg>
      <p:bgPr>
        <a:solidFill>
          <a:schemeClr val="tx2"/>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lvl1pPr>
              <a:defRPr>
                <a:solidFill>
                  <a:schemeClr val="bg1"/>
                </a:solidFill>
              </a:defRPr>
            </a:lvl1pPr>
          </a:lstStyle>
          <a:p>
            <a:endParaRPr lang="en-GB"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
        <p:nvSpPr>
          <p:cNvPr id="10" name="Title 1">
            <a:extLst>
              <a:ext uri="{FF2B5EF4-FFF2-40B4-BE49-F238E27FC236}">
                <a16:creationId xmlns:a16="http://schemas.microsoft.com/office/drawing/2014/main" id="{6C13A741-605A-4BC1-B12F-6B4884693E96}"/>
              </a:ext>
            </a:extLst>
          </p:cNvPr>
          <p:cNvSpPr>
            <a:spLocks noGrp="1"/>
          </p:cNvSpPr>
          <p:nvPr>
            <p:ph type="title"/>
          </p:nvPr>
        </p:nvSpPr>
        <p:spPr>
          <a:xfrm>
            <a:off x="5580063" y="1476053"/>
            <a:ext cx="5544616" cy="1139825"/>
          </a:xfrm>
        </p:spPr>
        <p:txBody>
          <a:bodyPr/>
          <a:lstStyle>
            <a:lvl1pPr>
              <a:defRPr>
                <a:solidFill>
                  <a:schemeClr val="bg2"/>
                </a:solidFill>
              </a:defRPr>
            </a:lvl1pPr>
          </a:lstStyle>
          <a:p>
            <a:r>
              <a:rPr lang="en-US" dirty="0"/>
              <a:t>Click to edit Master title style</a:t>
            </a:r>
            <a:endParaRPr lang="sv-SE" dirty="0"/>
          </a:p>
        </p:txBody>
      </p:sp>
      <p:sp>
        <p:nvSpPr>
          <p:cNvPr id="11" name="Text Placeholder 6">
            <a:extLst>
              <a:ext uri="{FF2B5EF4-FFF2-40B4-BE49-F238E27FC236}">
                <a16:creationId xmlns:a16="http://schemas.microsoft.com/office/drawing/2014/main" id="{37B0033A-ADF4-48AE-89CB-79A6BEA12A9E}"/>
              </a:ext>
            </a:extLst>
          </p:cNvPr>
          <p:cNvSpPr>
            <a:spLocks noGrp="1"/>
          </p:cNvSpPr>
          <p:nvPr>
            <p:ph type="body" sz="quarter" idx="13"/>
          </p:nvPr>
        </p:nvSpPr>
        <p:spPr>
          <a:xfrm>
            <a:off x="5581850" y="2700190"/>
            <a:ext cx="5545384" cy="3096344"/>
          </a:xfrm>
        </p:spPr>
        <p:txBody>
          <a:bodyPr/>
          <a:lstStyle>
            <a:lvl1pPr>
              <a:defRPr>
                <a:solidFill>
                  <a:schemeClr val="bg2"/>
                </a:solidFill>
              </a:defRPr>
            </a:lvl1pPr>
            <a:lvl2pPr marL="174625" indent="-174625">
              <a:defRPr b="0">
                <a:solidFill>
                  <a:schemeClr val="bg2"/>
                </a:solidFill>
              </a:defRPr>
            </a:lvl2pPr>
            <a:lvl3pPr marL="446088" indent="-182563">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
        <p:nvSpPr>
          <p:cNvPr id="12" name="Slide Number Placeholder 5">
            <a:extLst>
              <a:ext uri="{FF2B5EF4-FFF2-40B4-BE49-F238E27FC236}">
                <a16:creationId xmlns:a16="http://schemas.microsoft.com/office/drawing/2014/main" id="{433DB39A-143B-4E21-B66E-C747B1944757}"/>
              </a:ext>
            </a:extLst>
          </p:cNvPr>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rtl="0" fontAlgn="base">
              <a:spcBef>
                <a:spcPct val="0"/>
              </a:spcBef>
              <a:spcAft>
                <a:spcPct val="0"/>
              </a:spcAft>
              <a:defRPr lang="en-GB" sz="1000" kern="1200" smtClean="0">
                <a:solidFill>
                  <a:schemeClr val="bg1"/>
                </a:solidFill>
                <a:latin typeface="Arial" pitchFamily="34" charset="0"/>
                <a:ea typeface="+mn-ea"/>
                <a:cs typeface="Arial" pitchFamily="34" charset="0"/>
              </a:defRPr>
            </a:lvl1pPr>
          </a:lstStyle>
          <a:p>
            <a:fld id="{C864BB8D-94B4-466C-94BF-D114C83BF951}" type="slidenum">
              <a:rPr lang="sv-SE" smtClean="0"/>
              <a:pPr/>
              <a:t>‹#›</a:t>
            </a:fld>
            <a:endParaRPr lang="sv-SE" dirty="0"/>
          </a:p>
        </p:txBody>
      </p:sp>
      <p:sp>
        <p:nvSpPr>
          <p:cNvPr id="13" name="Footer Placeholder 3">
            <a:extLst>
              <a:ext uri="{FF2B5EF4-FFF2-40B4-BE49-F238E27FC236}">
                <a16:creationId xmlns:a16="http://schemas.microsoft.com/office/drawing/2014/main" id="{904E8A03-9A22-485E-9E85-B8CB75F063B3}"/>
              </a:ext>
            </a:extLst>
          </p:cNvPr>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136687121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loured 5th element and background picture">
    <p:bg>
      <p:bgPr>
        <a:solidFill>
          <a:schemeClr val="tx2"/>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p>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
        <p:nvSpPr>
          <p:cNvPr id="4" name="Text Placeholder 3"/>
          <p:cNvSpPr>
            <a:spLocks noGrp="1"/>
          </p:cNvSpPr>
          <p:nvPr>
            <p:ph type="body" sz="quarter" idx="13"/>
          </p:nvPr>
        </p:nvSpPr>
        <p:spPr>
          <a:xfrm>
            <a:off x="467742" y="467941"/>
            <a:ext cx="2880841" cy="4608512"/>
          </a:xfrm>
        </p:spPr>
        <p:txBody>
          <a:bodyPr/>
          <a:lstStyle>
            <a:lvl1pPr>
              <a:defRPr sz="2800">
                <a:solidFill>
                  <a:schemeClr val="bg2"/>
                </a:solidFill>
              </a:defRPr>
            </a:lvl1pPr>
          </a:lstStyle>
          <a:p>
            <a:pPr lvl="0"/>
            <a:r>
              <a:rPr lang="en-US" dirty="0"/>
              <a:t>Edit Master text styles</a:t>
            </a:r>
          </a:p>
        </p:txBody>
      </p:sp>
      <p:sp>
        <p:nvSpPr>
          <p:cNvPr id="8"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
        <p:nvSpPr>
          <p:cNvPr id="9" name="Title 1">
            <a:extLst>
              <a:ext uri="{FF2B5EF4-FFF2-40B4-BE49-F238E27FC236}">
                <a16:creationId xmlns:a16="http://schemas.microsoft.com/office/drawing/2014/main" id="{45D6E11B-79DF-4CDC-9CE5-3BD2AF0585A0}"/>
              </a:ext>
            </a:extLst>
          </p:cNvPr>
          <p:cNvSpPr>
            <a:spLocks noGrp="1"/>
          </p:cNvSpPr>
          <p:nvPr>
            <p:ph type="title"/>
          </p:nvPr>
        </p:nvSpPr>
        <p:spPr>
          <a:xfrm>
            <a:off x="5580063" y="1476053"/>
            <a:ext cx="5544616" cy="1139825"/>
          </a:xfrm>
        </p:spPr>
        <p:txBody>
          <a:bodyPr/>
          <a:lstStyle>
            <a:lvl1pPr>
              <a:defRPr>
                <a:solidFill>
                  <a:schemeClr val="bg2"/>
                </a:solidFill>
              </a:defRPr>
            </a:lvl1pPr>
          </a:lstStyle>
          <a:p>
            <a:r>
              <a:rPr lang="en-US" dirty="0"/>
              <a:t>Click to edit Master title style</a:t>
            </a:r>
            <a:endParaRPr lang="sv-SE" dirty="0"/>
          </a:p>
        </p:txBody>
      </p:sp>
      <p:sp>
        <p:nvSpPr>
          <p:cNvPr id="10" name="Text Placeholder 6">
            <a:extLst>
              <a:ext uri="{FF2B5EF4-FFF2-40B4-BE49-F238E27FC236}">
                <a16:creationId xmlns:a16="http://schemas.microsoft.com/office/drawing/2014/main" id="{59D31B1D-897A-471D-BD84-4D3D8884520E}"/>
              </a:ext>
            </a:extLst>
          </p:cNvPr>
          <p:cNvSpPr>
            <a:spLocks noGrp="1"/>
          </p:cNvSpPr>
          <p:nvPr>
            <p:ph type="body" sz="quarter" idx="14"/>
          </p:nvPr>
        </p:nvSpPr>
        <p:spPr>
          <a:xfrm>
            <a:off x="5581850" y="2700190"/>
            <a:ext cx="5545384" cy="3096344"/>
          </a:xfrm>
        </p:spPr>
        <p:txBody>
          <a:bodyPr/>
          <a:lstStyle>
            <a:lvl1pPr>
              <a:defRPr>
                <a:solidFill>
                  <a:schemeClr val="bg2"/>
                </a:solidFill>
              </a:defRPr>
            </a:lvl1pPr>
            <a:lvl2pPr marL="174625" indent="-174625">
              <a:defRPr b="0">
                <a:solidFill>
                  <a:schemeClr val="bg2"/>
                </a:solidFill>
              </a:defRPr>
            </a:lvl2pPr>
            <a:lvl3pPr marL="446088" indent="-182563">
              <a:defRPr>
                <a:solidFill>
                  <a:schemeClr val="bg2"/>
                </a:solidFill>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1284705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hank you  Layou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68363" y="1992412"/>
            <a:ext cx="9433048" cy="2291953"/>
          </a:xfrm>
        </p:spPr>
        <p:txBody>
          <a:bodyPr>
            <a:noAutofit/>
          </a:bodyPr>
          <a:lstStyle>
            <a:lvl1pPr algn="ctr">
              <a:defRPr sz="6000" b="0">
                <a:solidFill>
                  <a:schemeClr val="bg2"/>
                </a:solidFill>
              </a:defRPr>
            </a:lvl1pPr>
          </a:lstStyle>
          <a:p>
            <a:r>
              <a:rPr lang="en-US" dirty="0"/>
              <a:t>Thank you!</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grpSp>
        <p:nvGrpSpPr>
          <p:cNvPr id="6" name="Group 5">
            <a:extLst>
              <a:ext uri="{FF2B5EF4-FFF2-40B4-BE49-F238E27FC236}">
                <a16:creationId xmlns:a16="http://schemas.microsoft.com/office/drawing/2014/main" id="{571369E9-7576-4844-9AF1-4091A3CD6707}"/>
              </a:ext>
            </a:extLst>
          </p:cNvPr>
          <p:cNvGrpSpPr/>
          <p:nvPr userDrawn="1"/>
        </p:nvGrpSpPr>
        <p:grpSpPr>
          <a:xfrm>
            <a:off x="540271" y="5138376"/>
            <a:ext cx="6985350" cy="1152127"/>
            <a:chOff x="540271" y="5138376"/>
            <a:chExt cx="6985350" cy="1152127"/>
          </a:xfrm>
        </p:grpSpPr>
        <p:pic>
          <p:nvPicPr>
            <p:cNvPr id="11" name="Picture 10">
              <a:extLst>
                <a:ext uri="{FF2B5EF4-FFF2-40B4-BE49-F238E27FC236}">
                  <a16:creationId xmlns:a16="http://schemas.microsoft.com/office/drawing/2014/main" id="{5EDDA73C-C73A-4652-A24E-E83FF11427CC}"/>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38890" b="31479"/>
            <a:stretch/>
          </p:blipFill>
          <p:spPr>
            <a:xfrm>
              <a:off x="2160798" y="5138376"/>
              <a:ext cx="1799307" cy="1152127"/>
            </a:xfrm>
            <a:prstGeom prst="rect">
              <a:avLst/>
            </a:prstGeom>
          </p:spPr>
        </p:pic>
        <p:pic>
          <p:nvPicPr>
            <p:cNvPr id="16"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36615" y="5336009"/>
              <a:ext cx="1830986" cy="878185"/>
            </a:xfrm>
            <a:prstGeom prst="rect">
              <a:avLst/>
            </a:prstGeom>
          </p:spPr>
        </p:pic>
        <p:pic>
          <p:nvPicPr>
            <p:cNvPr id="19" name="Picture 18"/>
            <p:cNvPicPr>
              <a:picLocks noChangeAspect="1"/>
            </p:cNvPicPr>
            <p:nvPr userDrawn="1"/>
          </p:nvPicPr>
          <p:blipFill rotWithShape="1">
            <a:blip r:embed="rId5" cstate="print">
              <a:extLst>
                <a:ext uri="{28A0092B-C50C-407E-A947-70E740481C1C}">
                  <a14:useLocalDpi xmlns:a14="http://schemas.microsoft.com/office/drawing/2010/main" val="0"/>
                </a:ext>
              </a:extLst>
            </a:blip>
            <a:srcRect t="72634" b="13682"/>
            <a:stretch/>
          </p:blipFill>
          <p:spPr>
            <a:xfrm>
              <a:off x="5724847" y="5508501"/>
              <a:ext cx="1800774" cy="532756"/>
            </a:xfrm>
            <a:prstGeom prst="rect">
              <a:avLst/>
            </a:prstGeom>
          </p:spPr>
        </p:pic>
        <p:pic>
          <p:nvPicPr>
            <p:cNvPr id="13" name="Picture 12">
              <a:extLst>
                <a:ext uri="{FF2B5EF4-FFF2-40B4-BE49-F238E27FC236}">
                  <a16:creationId xmlns:a16="http://schemas.microsoft.com/office/drawing/2014/main" id="{90512660-082C-42CB-A19F-B134F2B00D7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18257" b="57669"/>
            <a:stretch/>
          </p:blipFill>
          <p:spPr>
            <a:xfrm>
              <a:off x="540271" y="5334196"/>
              <a:ext cx="1799307" cy="936104"/>
            </a:xfrm>
            <a:prstGeom prst="rect">
              <a:avLst/>
            </a:prstGeom>
          </p:spPr>
        </p:pic>
      </p:grpSp>
    </p:spTree>
    <p:extLst>
      <p:ext uri="{BB962C8B-B14F-4D97-AF65-F5344CB8AC3E}">
        <p14:creationId xmlns:p14="http://schemas.microsoft.com/office/powerpoint/2010/main" val="16546881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Chapter page">
    <p:bg>
      <p:bgPr>
        <a:solidFill>
          <a:schemeClr val="tx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4488D4-CD72-4342-818C-A7B16A1ED3CC}"/>
              </a:ext>
            </a:extLst>
          </p:cNvPr>
          <p:cNvGrpSpPr/>
          <p:nvPr userDrawn="1"/>
        </p:nvGrpSpPr>
        <p:grpSpPr>
          <a:xfrm>
            <a:off x="1150205" y="1940353"/>
            <a:ext cx="9869364" cy="2570196"/>
            <a:chOff x="1150205" y="1940353"/>
            <a:chExt cx="9869364" cy="2570196"/>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850106" y="1940353"/>
              <a:ext cx="2469563" cy="1512169"/>
            </a:xfrm>
            <a:prstGeom prst="rect">
              <a:avLst/>
            </a:prstGeom>
          </p:spPr>
        </p:pic>
        <p:sp>
          <p:nvSpPr>
            <p:cNvPr id="8" name="Title 1">
              <a:extLst>
                <a:ext uri="{FF2B5EF4-FFF2-40B4-BE49-F238E27FC236}">
                  <a16:creationId xmlns:a16="http://schemas.microsoft.com/office/drawing/2014/main" id="{03FCC5F1-E6C4-4992-A8CA-064E596743BA}"/>
                </a:ext>
              </a:extLst>
            </p:cNvPr>
            <p:cNvSpPr txBox="1">
              <a:spLocks/>
            </p:cNvSpPr>
            <p:nvPr userDrawn="1"/>
          </p:nvSpPr>
          <p:spPr>
            <a:xfrm>
              <a:off x="1150205" y="3574445"/>
              <a:ext cx="9869364" cy="936104"/>
            </a:xfrm>
            <a:prstGeom prst="rect">
              <a:avLst/>
            </a:prstGeom>
          </p:spPr>
          <p:txBody>
            <a:bodyPr vert="horz" lIns="91440" tIns="45720" rIns="91440" bIns="45720" rtlCol="0" anchor="t">
              <a:noAutofit/>
            </a:bodyPr>
            <a:lstStyle>
              <a:lvl1pPr algn="ctr" defTabSz="914400" rtl="0" eaLnBrk="1" latinLnBrk="0" hangingPunct="1">
                <a:spcBef>
                  <a:spcPct val="0"/>
                </a:spcBef>
                <a:buNone/>
                <a:defRPr sz="5400" kern="1200" spc="-130" baseline="0">
                  <a:solidFill>
                    <a:schemeClr val="bg2"/>
                  </a:solidFill>
                  <a:latin typeface="Arial" pitchFamily="34" charset="0"/>
                  <a:ea typeface="+mj-ea"/>
                  <a:cs typeface="Arial" pitchFamily="34" charset="0"/>
                </a:defRPr>
              </a:lvl1pPr>
            </a:lstStyle>
            <a:p>
              <a:pPr fontAlgn="auto">
                <a:spcAft>
                  <a:spcPts val="0"/>
                </a:spcAft>
              </a:pPr>
              <a:r>
                <a:rPr lang="en-US" sz="4400" dirty="0">
                  <a:solidFill>
                    <a:schemeClr val="accent2"/>
                  </a:solidFill>
                </a:rPr>
                <a:t>The better </a:t>
              </a:r>
              <a:r>
                <a:rPr lang="en-US" sz="4400" dirty="0"/>
                <a:t>shopping experience</a:t>
              </a:r>
              <a:endParaRPr lang="en-GB" sz="4400" dirty="0"/>
            </a:p>
          </p:txBody>
        </p:sp>
      </p:grpSp>
    </p:spTree>
    <p:extLst>
      <p:ext uri="{BB962C8B-B14F-4D97-AF65-F5344CB8AC3E}">
        <p14:creationId xmlns:p14="http://schemas.microsoft.com/office/powerpoint/2010/main" val="135028463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Chapter page">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571ECAF-F4EB-4754-ABB7-776B0AAB29B8}"/>
              </a:ext>
            </a:extLst>
          </p:cNvPr>
          <p:cNvGrpSpPr/>
          <p:nvPr userDrawn="1"/>
        </p:nvGrpSpPr>
        <p:grpSpPr>
          <a:xfrm>
            <a:off x="790165" y="1943897"/>
            <a:ext cx="10589444" cy="2628500"/>
            <a:chOff x="790165" y="1943897"/>
            <a:chExt cx="10589444" cy="2628500"/>
          </a:xfrm>
        </p:grpSpPr>
        <p:pic>
          <p:nvPicPr>
            <p:cNvPr id="4" name="Picture 3">
              <a:extLst>
                <a:ext uri="{FF2B5EF4-FFF2-40B4-BE49-F238E27FC236}">
                  <a16:creationId xmlns:a16="http://schemas.microsoft.com/office/drawing/2014/main" id="{4DB854F6-348C-4276-9E6E-C646FC6F5B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35058" y="1943897"/>
              <a:ext cx="2499659" cy="1528060"/>
            </a:xfrm>
            <a:prstGeom prst="rect">
              <a:avLst/>
            </a:prstGeom>
          </p:spPr>
        </p:pic>
        <p:sp>
          <p:nvSpPr>
            <p:cNvPr id="5" name="Title 1">
              <a:extLst>
                <a:ext uri="{FF2B5EF4-FFF2-40B4-BE49-F238E27FC236}">
                  <a16:creationId xmlns:a16="http://schemas.microsoft.com/office/drawing/2014/main" id="{656804A1-34B7-43F1-9302-DB91D0E3C5E5}"/>
                </a:ext>
              </a:extLst>
            </p:cNvPr>
            <p:cNvSpPr txBox="1">
              <a:spLocks/>
            </p:cNvSpPr>
            <p:nvPr userDrawn="1"/>
          </p:nvSpPr>
          <p:spPr>
            <a:xfrm>
              <a:off x="790165" y="3576588"/>
              <a:ext cx="10589444" cy="995809"/>
            </a:xfrm>
            <a:prstGeom prst="rect">
              <a:avLst/>
            </a:prstGeom>
          </p:spPr>
          <p:txBody>
            <a:bodyPr vert="horz" lIns="91440" tIns="45720" rIns="91440" bIns="45720" rtlCol="0" anchor="t">
              <a:noAutofit/>
            </a:bodyPr>
            <a:lstStyle>
              <a:lvl1pPr algn="ctr" defTabSz="914400" rtl="0" eaLnBrk="1" latinLnBrk="0" hangingPunct="1">
                <a:spcBef>
                  <a:spcPct val="0"/>
                </a:spcBef>
                <a:buNone/>
                <a:defRPr sz="5400" kern="1200" spc="-130" baseline="0">
                  <a:solidFill>
                    <a:schemeClr val="bg2"/>
                  </a:solidFill>
                  <a:latin typeface="Arial" pitchFamily="34" charset="0"/>
                  <a:ea typeface="+mj-ea"/>
                  <a:cs typeface="Arial" pitchFamily="34" charset="0"/>
                </a:defRPr>
              </a:lvl1pPr>
            </a:lstStyle>
            <a:p>
              <a:pPr fontAlgn="auto">
                <a:spcAft>
                  <a:spcPts val="0"/>
                </a:spcAft>
              </a:pPr>
              <a:r>
                <a:rPr lang="en-US" sz="4400" dirty="0">
                  <a:solidFill>
                    <a:schemeClr val="accent2"/>
                  </a:solidFill>
                </a:rPr>
                <a:t>The better </a:t>
              </a:r>
              <a:r>
                <a:rPr lang="en-US" sz="4400" dirty="0">
                  <a:solidFill>
                    <a:schemeClr val="tx2"/>
                  </a:solidFill>
                </a:rPr>
                <a:t>shopping experience</a:t>
              </a:r>
              <a:endParaRPr lang="en-GB" sz="4400" dirty="0">
                <a:solidFill>
                  <a:schemeClr val="tx2"/>
                </a:solidFill>
              </a:endParaRPr>
            </a:p>
          </p:txBody>
        </p:sp>
      </p:grpSp>
    </p:spTree>
    <p:extLst>
      <p:ext uri="{BB962C8B-B14F-4D97-AF65-F5344CB8AC3E}">
        <p14:creationId xmlns:p14="http://schemas.microsoft.com/office/powerpoint/2010/main" val="391220702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Introduction presentation">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5"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p>
            <a:endParaRPr lang="en-GB"/>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7" name="Text Placeholder 6"/>
          <p:cNvSpPr>
            <a:spLocks noGrp="1"/>
          </p:cNvSpPr>
          <p:nvPr>
            <p:ph type="body" sz="quarter" idx="12"/>
          </p:nvPr>
        </p:nvSpPr>
        <p:spPr>
          <a:xfrm>
            <a:off x="5148783" y="2339355"/>
            <a:ext cx="5822950" cy="2305050"/>
          </a:xfrm>
        </p:spPr>
        <p:txBody>
          <a:bodyPr/>
          <a:lstStyle>
            <a:lvl1pPr>
              <a:defRPr sz="4000">
                <a:solidFill>
                  <a:schemeClr val="tx2"/>
                </a:solidFill>
              </a:defRPr>
            </a:lvl1pPr>
            <a:lvl2pPr>
              <a:defRPr b="0"/>
            </a:lvl2pPr>
          </a:lstStyle>
          <a:p>
            <a:pPr lvl="0"/>
            <a:r>
              <a:rPr lang="en-US"/>
              <a:t>Click to edit Master text styles</a:t>
            </a:r>
          </a:p>
          <a:p>
            <a:pPr lvl="1"/>
            <a:r>
              <a:rPr lang="en-US"/>
              <a:t>Second level</a:t>
            </a:r>
          </a:p>
        </p:txBody>
      </p:sp>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8249583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tandard page">
    <p:spTree>
      <p:nvGrpSpPr>
        <p:cNvPr id="1" name=""/>
        <p:cNvGrpSpPr/>
        <p:nvPr/>
      </p:nvGrpSpPr>
      <p:grpSpPr>
        <a:xfrm>
          <a:off x="0" y="0"/>
          <a:ext cx="0" cy="0"/>
          <a:chOff x="0" y="0"/>
          <a:chExt cx="0" cy="0"/>
        </a:xfrm>
      </p:grpSpPr>
      <p:sp>
        <p:nvSpPr>
          <p:cNvPr id="2" name="Title 1"/>
          <p:cNvSpPr>
            <a:spLocks noGrp="1"/>
          </p:cNvSpPr>
          <p:nvPr>
            <p:ph type="title"/>
          </p:nvPr>
        </p:nvSpPr>
        <p:spPr>
          <a:xfrm>
            <a:off x="972319" y="408236"/>
            <a:ext cx="10297144" cy="1139825"/>
          </a:xfrm>
        </p:spPr>
        <p:txBody>
          <a:bodyPr/>
          <a:lstStyle/>
          <a:p>
            <a:r>
              <a:rPr lang="en-US"/>
              <a:t>Click to edit Master title style</a:t>
            </a:r>
            <a:endParaRPr lang="en-GB"/>
          </a:p>
        </p:txBody>
      </p:sp>
      <p:sp>
        <p:nvSpPr>
          <p:cNvPr id="3" name="Slide Number Placeholder 2"/>
          <p:cNvSpPr>
            <a:spLocks noGrp="1"/>
          </p:cNvSpPr>
          <p:nvPr>
            <p:ph type="sldNum" sz="quarter" idx="10"/>
          </p:nvPr>
        </p:nvSpPr>
        <p:spPr>
          <a:xfrm>
            <a:off x="468263" y="6369099"/>
            <a:ext cx="503287" cy="363538"/>
          </a:xfrm>
        </p:spPr>
        <p:txBody>
          <a:bodyPr/>
          <a:lstStyle/>
          <a:p>
            <a:fld id="{C864BB8D-94B4-466C-94BF-D114C83BF951}" type="slidenum">
              <a:rPr lang="en-GB" smtClean="0"/>
              <a:pPr/>
              <a:t>‹#›</a:t>
            </a:fld>
            <a:endParaRPr lang="en-GB"/>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7" name="Text Placeholder 6"/>
          <p:cNvSpPr>
            <a:spLocks noGrp="1"/>
          </p:cNvSpPr>
          <p:nvPr>
            <p:ph type="body" sz="quarter" idx="11"/>
          </p:nvPr>
        </p:nvSpPr>
        <p:spPr>
          <a:xfrm>
            <a:off x="971550" y="2001600"/>
            <a:ext cx="10297913" cy="3959671"/>
          </a:xfrm>
        </p:spPr>
        <p:txBody>
          <a:bodyPr/>
          <a:lstStyle>
            <a:lvl2pPr marL="174625" indent="-174625">
              <a:defRPr b="0"/>
            </a:lvl2pPr>
            <a:lvl3pPr marL="446088" indent="-182563">
              <a:defRPr/>
            </a:lvl3pPr>
          </a:lstStyle>
          <a:p>
            <a:pPr lvl="0"/>
            <a:r>
              <a:rPr lang="en-US"/>
              <a:t>Click to edit Master text styles</a:t>
            </a:r>
          </a:p>
          <a:p>
            <a:pPr lvl="1"/>
            <a:r>
              <a:rPr lang="en-US"/>
              <a:t>Second level</a:t>
            </a:r>
          </a:p>
          <a:p>
            <a:pPr lvl="2"/>
            <a:r>
              <a:rPr lang="en-US"/>
              <a:t>Third level</a:t>
            </a:r>
          </a:p>
        </p:txBody>
      </p:sp>
      <p:sp>
        <p:nvSpPr>
          <p:cNvPr id="9"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86718061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lose ups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4" name="Picture Placeholder 4"/>
          <p:cNvSpPr>
            <a:spLocks noGrp="1"/>
          </p:cNvSpPr>
          <p:nvPr>
            <p:ph type="pic" sz="quarter" idx="12"/>
          </p:nvPr>
        </p:nvSpPr>
        <p:spPr>
          <a:xfrm>
            <a:off x="5051684" y="1680210"/>
            <a:ext cx="3444632" cy="3180218"/>
          </a:xfrm>
        </p:spPr>
        <p:txBody>
          <a:bodyPr/>
          <a:lstStyle/>
          <a:p>
            <a:endParaRPr lang="fr-FR"/>
          </a:p>
        </p:txBody>
      </p:sp>
      <p:sp>
        <p:nvSpPr>
          <p:cNvPr id="5" name="Picture Placeholder 4"/>
          <p:cNvSpPr>
            <a:spLocks noGrp="1"/>
          </p:cNvSpPr>
          <p:nvPr>
            <p:ph type="pic" sz="quarter" idx="13"/>
          </p:nvPr>
        </p:nvSpPr>
        <p:spPr>
          <a:xfrm>
            <a:off x="8725143" y="1680210"/>
            <a:ext cx="3444632" cy="3180218"/>
          </a:xfrm>
        </p:spPr>
        <p:txBody>
          <a:bodyPr/>
          <a:lstStyle/>
          <a:p>
            <a:endParaRPr lang="fr-FR"/>
          </a:p>
        </p:txBody>
      </p:sp>
      <p:sp>
        <p:nvSpPr>
          <p:cNvPr id="6" name="Text Placeholder 15"/>
          <p:cNvSpPr>
            <a:spLocks noGrp="1"/>
          </p:cNvSpPr>
          <p:nvPr>
            <p:ph type="body" sz="quarter" idx="17"/>
          </p:nvPr>
        </p:nvSpPr>
        <p:spPr>
          <a:xfrm>
            <a:off x="1188343" y="5076230"/>
            <a:ext cx="3634482" cy="360263"/>
          </a:xfrm>
        </p:spPr>
        <p:txBody>
          <a:bodyPr>
            <a:noAutofit/>
          </a:bodyPr>
          <a:lstStyle>
            <a:lvl1pPr>
              <a:defRPr sz="1600"/>
            </a:lvl1pPr>
          </a:lstStyle>
          <a:p>
            <a:pPr lvl="0"/>
            <a:r>
              <a:rPr lang="en-US"/>
              <a:t>Edit Master text styles</a:t>
            </a:r>
          </a:p>
        </p:txBody>
      </p:sp>
      <p:sp>
        <p:nvSpPr>
          <p:cNvPr id="7" name="Text Placeholder 15"/>
          <p:cNvSpPr>
            <a:spLocks noGrp="1"/>
          </p:cNvSpPr>
          <p:nvPr>
            <p:ph type="body" sz="quarter" idx="18"/>
          </p:nvPr>
        </p:nvSpPr>
        <p:spPr>
          <a:xfrm>
            <a:off x="5042822" y="5076230"/>
            <a:ext cx="3444907" cy="360263"/>
          </a:xfrm>
        </p:spPr>
        <p:txBody>
          <a:bodyPr>
            <a:noAutofit/>
          </a:bodyPr>
          <a:lstStyle>
            <a:lvl1pPr>
              <a:defRPr sz="1600"/>
            </a:lvl1pPr>
          </a:lstStyle>
          <a:p>
            <a:pPr lvl="0"/>
            <a:r>
              <a:rPr lang="en-US"/>
              <a:t>Edit Master text styles</a:t>
            </a:r>
          </a:p>
        </p:txBody>
      </p:sp>
      <p:sp>
        <p:nvSpPr>
          <p:cNvPr id="8" name="Text Placeholder 15"/>
          <p:cNvSpPr>
            <a:spLocks noGrp="1"/>
          </p:cNvSpPr>
          <p:nvPr>
            <p:ph type="body" sz="quarter" idx="19"/>
          </p:nvPr>
        </p:nvSpPr>
        <p:spPr>
          <a:xfrm>
            <a:off x="8707694" y="5076230"/>
            <a:ext cx="3444907" cy="360263"/>
          </a:xfrm>
        </p:spPr>
        <p:txBody>
          <a:bodyPr>
            <a:noAutofit/>
          </a:bodyPr>
          <a:lstStyle>
            <a:lvl1pPr>
              <a:defRPr sz="1600"/>
            </a:lvl1pPr>
          </a:lstStyle>
          <a:p>
            <a:pPr lvl="0"/>
            <a:r>
              <a:rPr lang="en-US"/>
              <a:t>Edit Master text styles</a:t>
            </a:r>
          </a:p>
        </p:txBody>
      </p:sp>
      <p:sp>
        <p:nvSpPr>
          <p:cNvPr id="9" name="Picture Placeholder 28"/>
          <p:cNvSpPr>
            <a:spLocks noGrp="1"/>
          </p:cNvSpPr>
          <p:nvPr>
            <p:ph type="pic" sz="quarter" idx="20"/>
          </p:nvPr>
        </p:nvSpPr>
        <p:spPr>
          <a:xfrm>
            <a:off x="1239053" y="1680210"/>
            <a:ext cx="3583772" cy="3161274"/>
          </a:xfrm>
          <a:custGeom>
            <a:avLst/>
            <a:gdLst>
              <a:gd name="connsiteX0" fmla="*/ 0 w 3444875"/>
              <a:gd name="connsiteY0" fmla="*/ 3149699 h 3149699"/>
              <a:gd name="connsiteX1" fmla="*/ 787425 w 3444875"/>
              <a:gd name="connsiteY1" fmla="*/ 0 h 3149699"/>
              <a:gd name="connsiteX2" fmla="*/ 3444875 w 3444875"/>
              <a:gd name="connsiteY2" fmla="*/ 0 h 3149699"/>
              <a:gd name="connsiteX3" fmla="*/ 2657450 w 3444875"/>
              <a:gd name="connsiteY3" fmla="*/ 3149699 h 3149699"/>
              <a:gd name="connsiteX4" fmla="*/ 0 w 3444875"/>
              <a:gd name="connsiteY4" fmla="*/ 3149699 h 3149699"/>
              <a:gd name="connsiteX0" fmla="*/ 0 w 3444875"/>
              <a:gd name="connsiteY0" fmla="*/ 3149699 h 3161274"/>
              <a:gd name="connsiteX1" fmla="*/ 787425 w 3444875"/>
              <a:gd name="connsiteY1" fmla="*/ 0 h 3161274"/>
              <a:gd name="connsiteX2" fmla="*/ 3444875 w 3444875"/>
              <a:gd name="connsiteY2" fmla="*/ 0 h 3161274"/>
              <a:gd name="connsiteX3" fmla="*/ 3375081 w 3444875"/>
              <a:gd name="connsiteY3" fmla="*/ 3161274 h 3161274"/>
              <a:gd name="connsiteX4" fmla="*/ 0 w 3444875"/>
              <a:gd name="connsiteY4" fmla="*/ 3149699 h 3161274"/>
              <a:gd name="connsiteX0" fmla="*/ 0 w 3444875"/>
              <a:gd name="connsiteY0" fmla="*/ 3149699 h 3161274"/>
              <a:gd name="connsiteX1" fmla="*/ 787425 w 3444875"/>
              <a:gd name="connsiteY1" fmla="*/ 0 h 3161274"/>
              <a:gd name="connsiteX2" fmla="*/ 3444875 w 3444875"/>
              <a:gd name="connsiteY2" fmla="*/ 0 h 3161274"/>
              <a:gd name="connsiteX3" fmla="*/ 3432955 w 3444875"/>
              <a:gd name="connsiteY3" fmla="*/ 3161274 h 3161274"/>
              <a:gd name="connsiteX4" fmla="*/ 0 w 3444875"/>
              <a:gd name="connsiteY4" fmla="*/ 3149699 h 3161274"/>
              <a:gd name="connsiteX0" fmla="*/ 0 w 3583772"/>
              <a:gd name="connsiteY0" fmla="*/ 3161274 h 3161274"/>
              <a:gd name="connsiteX1" fmla="*/ 926322 w 3583772"/>
              <a:gd name="connsiteY1" fmla="*/ 0 h 3161274"/>
              <a:gd name="connsiteX2" fmla="*/ 3583772 w 3583772"/>
              <a:gd name="connsiteY2" fmla="*/ 0 h 3161274"/>
              <a:gd name="connsiteX3" fmla="*/ 3571852 w 3583772"/>
              <a:gd name="connsiteY3" fmla="*/ 3161274 h 3161274"/>
              <a:gd name="connsiteX4" fmla="*/ 0 w 3583772"/>
              <a:gd name="connsiteY4" fmla="*/ 3161274 h 3161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3772" h="3161274">
                <a:moveTo>
                  <a:pt x="0" y="3161274"/>
                </a:moveTo>
                <a:lnTo>
                  <a:pt x="926322" y="0"/>
                </a:lnTo>
                <a:lnTo>
                  <a:pt x="3583772" y="0"/>
                </a:lnTo>
                <a:cubicBezTo>
                  <a:pt x="3579799" y="1053758"/>
                  <a:pt x="3575825" y="2107516"/>
                  <a:pt x="3571852" y="3161274"/>
                </a:cubicBezTo>
                <a:lnTo>
                  <a:pt x="0" y="3161274"/>
                </a:lnTo>
                <a:close/>
              </a:path>
            </a:pathLst>
          </a:custGeom>
          <a:noFill/>
        </p:spPr>
        <p:txBody>
          <a:bodyPr/>
          <a:lstStyle/>
          <a:p>
            <a:endParaRPr lang="fr-FR"/>
          </a:p>
        </p:txBody>
      </p:sp>
      <p:sp>
        <p:nvSpPr>
          <p:cNvPr id="11"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308024768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columns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7" name="Content Placeholder 6"/>
          <p:cNvSpPr>
            <a:spLocks noGrp="1"/>
          </p:cNvSpPr>
          <p:nvPr>
            <p:ph sz="quarter" idx="11"/>
          </p:nvPr>
        </p:nvSpPr>
        <p:spPr>
          <a:xfrm>
            <a:off x="972319" y="1692077"/>
            <a:ext cx="4680520" cy="3888432"/>
          </a:xfrm>
        </p:spPr>
        <p:txBody>
          <a:bodyPr/>
          <a:lstStyle>
            <a:lvl2pPr>
              <a:defRPr b="0"/>
            </a:lvl2pPr>
          </a:lstStyle>
          <a:p>
            <a:pPr lvl="0"/>
            <a:r>
              <a:rPr lang="en-US"/>
              <a:t>Click to edit Master text styles</a:t>
            </a:r>
          </a:p>
          <a:p>
            <a:pPr lvl="1"/>
            <a:r>
              <a:rPr lang="en-US"/>
              <a:t>Second level</a:t>
            </a:r>
          </a:p>
          <a:p>
            <a:pPr lvl="2"/>
            <a:r>
              <a:rPr lang="en-US"/>
              <a:t>Third level</a:t>
            </a:r>
          </a:p>
        </p:txBody>
      </p:sp>
      <p:sp>
        <p:nvSpPr>
          <p:cNvPr id="9" name="Content Placeholder 8"/>
          <p:cNvSpPr>
            <a:spLocks noGrp="1"/>
          </p:cNvSpPr>
          <p:nvPr>
            <p:ph sz="quarter" idx="12"/>
          </p:nvPr>
        </p:nvSpPr>
        <p:spPr>
          <a:xfrm>
            <a:off x="6228903" y="1692077"/>
            <a:ext cx="5040312" cy="3888234"/>
          </a:xfrm>
        </p:spPr>
        <p:txBody>
          <a:bodyPr/>
          <a:lstStyle>
            <a:lvl2pPr>
              <a:defRPr b="0"/>
            </a:lvl2pPr>
          </a:lstStyle>
          <a:p>
            <a:pPr lvl="0"/>
            <a:r>
              <a:rPr lang="en-US"/>
              <a:t>Click to edit Master text styles</a:t>
            </a:r>
          </a:p>
          <a:p>
            <a:pPr lvl="1"/>
            <a:r>
              <a:rPr lang="en-US"/>
              <a:t>Second level</a:t>
            </a:r>
          </a:p>
          <a:p>
            <a:pPr lvl="2"/>
            <a:r>
              <a:rPr lang="en-US"/>
              <a:t>Third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91794020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hapter pa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0165" y="1908101"/>
            <a:ext cx="10589444" cy="995809"/>
          </a:xfrm>
        </p:spPr>
        <p:txBody>
          <a:bodyPr>
            <a:noAutofit/>
          </a:bodyPr>
          <a:lstStyle>
            <a:lvl1pPr algn="ctr">
              <a:defRPr sz="5400">
                <a:solidFill>
                  <a:schemeClr val="bg2"/>
                </a:solidFill>
              </a:defRPr>
            </a:lvl1pPr>
          </a:lstStyle>
          <a:p>
            <a:r>
              <a:rPr lang="en-US"/>
              <a:t>Click to edit Master title sty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
        <p:nvSpPr>
          <p:cNvPr id="7"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19250979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troduction presentation">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5"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p>
            <a:endParaRPr lang="en-GB"/>
          </a:p>
        </p:txBody>
      </p:sp>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4155" y="5904252"/>
            <a:ext cx="885348" cy="540353"/>
          </a:xfrm>
          <a:prstGeom prst="rect">
            <a:avLst/>
          </a:prstGeom>
        </p:spPr>
      </p:pic>
      <p:sp>
        <p:nvSpPr>
          <p:cNvPr id="7" name="Text Placeholder 6"/>
          <p:cNvSpPr>
            <a:spLocks noGrp="1"/>
          </p:cNvSpPr>
          <p:nvPr>
            <p:ph type="body" sz="quarter" idx="12"/>
          </p:nvPr>
        </p:nvSpPr>
        <p:spPr>
          <a:xfrm>
            <a:off x="5148783" y="2339355"/>
            <a:ext cx="5822950" cy="2305050"/>
          </a:xfrm>
        </p:spPr>
        <p:txBody>
          <a:bodyPr/>
          <a:lstStyle>
            <a:lvl1pPr>
              <a:defRPr sz="4000">
                <a:solidFill>
                  <a:schemeClr val="tx2"/>
                </a:solidFill>
              </a:defRPr>
            </a:lvl1pPr>
            <a:lvl2pPr>
              <a:defRPr b="0"/>
            </a:lvl2pPr>
          </a:lstStyle>
          <a:p>
            <a:pPr lvl="0"/>
            <a:r>
              <a:rPr lang="en-US"/>
              <a:t>Click to edit Master text styles</a:t>
            </a:r>
          </a:p>
          <a:p>
            <a:pPr lvl="1"/>
            <a:r>
              <a:rPr lang="en-US"/>
              <a:t>Second level</a:t>
            </a:r>
          </a:p>
        </p:txBody>
      </p:sp>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7 – All rights reserved</a:t>
            </a:r>
            <a:endParaRPr lang="fr-FR"/>
          </a:p>
        </p:txBody>
      </p:sp>
    </p:spTree>
    <p:extLst>
      <p:ext uri="{BB962C8B-B14F-4D97-AF65-F5344CB8AC3E}">
        <p14:creationId xmlns:p14="http://schemas.microsoft.com/office/powerpoint/2010/main" val="360645652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framed picture + coloured slide">
    <p:bg>
      <p:bgPr>
        <a:solidFill>
          <a:schemeClr val="tx2"/>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lvl1pPr>
              <a:defRPr>
                <a:solidFill>
                  <a:schemeClr val="bg1"/>
                </a:solidFill>
              </a:defRPr>
            </a:lvl1pPr>
          </a:lstStyle>
          <a:p>
            <a:endParaRPr lang="en-GB"/>
          </a:p>
        </p:txBody>
      </p:sp>
      <p:sp>
        <p:nvSpPr>
          <p:cNvPr id="2" name="Title 1"/>
          <p:cNvSpPr>
            <a:spLocks noGrp="1"/>
          </p:cNvSpPr>
          <p:nvPr>
            <p:ph type="title"/>
          </p:nvPr>
        </p:nvSpPr>
        <p:spPr>
          <a:xfrm>
            <a:off x="5724847" y="1980109"/>
            <a:ext cx="5654762" cy="2940025"/>
          </a:xfrm>
        </p:spPr>
        <p:txBody>
          <a:bodyPr>
            <a:noAutofit/>
          </a:bodyPr>
          <a:lstStyle>
            <a:lvl1pPr algn="ctr">
              <a:defRPr sz="4000">
                <a:solidFill>
                  <a:schemeClr val="bg2"/>
                </a:solidFill>
              </a:defRPr>
            </a:lvl1pPr>
          </a:lstStyle>
          <a:p>
            <a:r>
              <a:rPr lang="en-US"/>
              <a:t>Click to edit Master title sty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
        <p:nvSpPr>
          <p:cNvPr id="8"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364328953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loured 5th element and background picture">
    <p:bg>
      <p:bgPr>
        <a:solidFill>
          <a:schemeClr val="tx2"/>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p>
            <a:endParaRPr lang="en-GB"/>
          </a:p>
        </p:txBody>
      </p:sp>
      <p:sp>
        <p:nvSpPr>
          <p:cNvPr id="2" name="Title 1"/>
          <p:cNvSpPr>
            <a:spLocks noGrp="1"/>
          </p:cNvSpPr>
          <p:nvPr>
            <p:ph type="title"/>
          </p:nvPr>
        </p:nvSpPr>
        <p:spPr>
          <a:xfrm>
            <a:off x="8206989" y="2484165"/>
            <a:ext cx="3566530" cy="2940025"/>
          </a:xfrm>
        </p:spPr>
        <p:txBody>
          <a:bodyPr>
            <a:noAutofit/>
          </a:bodyPr>
          <a:lstStyle>
            <a:lvl1pPr algn="r">
              <a:defRPr sz="4000">
                <a:solidFill>
                  <a:schemeClr val="bg2"/>
                </a:solidFill>
              </a:defRPr>
            </a:lvl1pPr>
          </a:lstStyle>
          <a:p>
            <a:r>
              <a:rPr lang="en-US"/>
              <a:t>Click to edit Master title sty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
        <p:nvSpPr>
          <p:cNvPr id="4" name="Text Placeholder 3"/>
          <p:cNvSpPr>
            <a:spLocks noGrp="1"/>
          </p:cNvSpPr>
          <p:nvPr>
            <p:ph type="body" sz="quarter" idx="13"/>
          </p:nvPr>
        </p:nvSpPr>
        <p:spPr>
          <a:xfrm>
            <a:off x="467742" y="467941"/>
            <a:ext cx="2880841" cy="4608512"/>
          </a:xfrm>
        </p:spPr>
        <p:txBody>
          <a:bodyPr/>
          <a:lstStyle>
            <a:lvl1pPr>
              <a:defRPr sz="4000">
                <a:solidFill>
                  <a:schemeClr val="bg2"/>
                </a:solidFill>
              </a:defRPr>
            </a:lvl1pPr>
          </a:lstStyle>
          <a:p>
            <a:pPr lvl="0"/>
            <a:r>
              <a:rPr lang="en-US"/>
              <a:t>Edit Master text styles</a:t>
            </a:r>
          </a:p>
        </p:txBody>
      </p:sp>
      <p:sp>
        <p:nvSpPr>
          <p:cNvPr id="8"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99971537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ackground picture white logo">
    <p:spTree>
      <p:nvGrpSpPr>
        <p:cNvPr id="1" name=""/>
        <p:cNvGrpSpPr/>
        <p:nvPr/>
      </p:nvGrpSpPr>
      <p:grpSpPr>
        <a:xfrm>
          <a:off x="0" y="0"/>
          <a:ext cx="0" cy="0"/>
          <a:chOff x="0" y="0"/>
          <a:chExt cx="0" cy="0"/>
        </a:xfrm>
      </p:grpSpPr>
      <p:sp>
        <p:nvSpPr>
          <p:cNvPr id="2" name="Title 1"/>
          <p:cNvSpPr>
            <a:spLocks noGrp="1"/>
          </p:cNvSpPr>
          <p:nvPr>
            <p:ph type="title"/>
          </p:nvPr>
        </p:nvSpPr>
        <p:spPr>
          <a:xfrm>
            <a:off x="936316" y="1992412"/>
            <a:ext cx="10297144" cy="1139825"/>
          </a:xfrm>
        </p:spPr>
        <p:txBody>
          <a:bodyPr/>
          <a:lstStyle>
            <a:lvl1pPr algn="ctr">
              <a:defRPr b="0">
                <a:solidFill>
                  <a:schemeClr val="bg2"/>
                </a:solidFill>
              </a:defRPr>
            </a:lvl1p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
        <p:nvSpPr>
          <p:cNvPr id="5"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baseline="0">
                <a:solidFill>
                  <a:schemeClr val="bg2"/>
                </a:solidFill>
              </a:defRPr>
            </a:lvl1pPr>
          </a:lstStyle>
          <a:p>
            <a:r>
              <a:rPr lang="en-US"/>
              <a:t>© HL Display 2018 – All rights reserved</a:t>
            </a:r>
            <a:endParaRPr lang="fr-FR"/>
          </a:p>
        </p:txBody>
      </p:sp>
    </p:spTree>
    <p:extLst>
      <p:ext uri="{BB962C8B-B14F-4D97-AF65-F5344CB8AC3E}">
        <p14:creationId xmlns:p14="http://schemas.microsoft.com/office/powerpoint/2010/main" val="215419929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hank you  Layou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368363" y="1992412"/>
            <a:ext cx="9433048" cy="2291953"/>
          </a:xfrm>
        </p:spPr>
        <p:txBody>
          <a:bodyPr>
            <a:noAutofit/>
          </a:bodyPr>
          <a:lstStyle>
            <a:lvl1pPr algn="ctr">
              <a:defRPr sz="9600" b="1">
                <a:solidFill>
                  <a:schemeClr val="bg2"/>
                </a:solidFill>
              </a:defRPr>
            </a:lvl1pPr>
          </a:lstStyle>
          <a:p>
            <a:r>
              <a:rPr lang="en-US"/>
              <a:t>Click to edit Master title style</a:t>
            </a:r>
            <a:endParaRPr lang="en-GB"/>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
        <p:nvSpPr>
          <p:cNvPr id="7" name="Text Placeholder 6"/>
          <p:cNvSpPr>
            <a:spLocks noGrp="1"/>
          </p:cNvSpPr>
          <p:nvPr>
            <p:ph type="body" sz="quarter" idx="10"/>
          </p:nvPr>
        </p:nvSpPr>
        <p:spPr>
          <a:xfrm>
            <a:off x="468957" y="6156127"/>
            <a:ext cx="4895850" cy="287873"/>
          </a:xfrm>
        </p:spPr>
        <p:txBody>
          <a:bodyPr>
            <a:normAutofit/>
          </a:bodyPr>
          <a:lstStyle>
            <a:lvl1pPr>
              <a:defRPr sz="1300">
                <a:solidFill>
                  <a:schemeClr val="bg2"/>
                </a:solidFill>
              </a:defRPr>
            </a:lvl1pPr>
          </a:lstStyle>
          <a:p>
            <a:pPr lvl="0"/>
            <a:r>
              <a:rPr lang="en-US"/>
              <a:t>Click to edit Master text styles</a:t>
            </a:r>
          </a:p>
        </p:txBody>
      </p:sp>
      <p:grpSp>
        <p:nvGrpSpPr>
          <p:cNvPr id="15" name="Group 14"/>
          <p:cNvGrpSpPr/>
          <p:nvPr userDrawn="1"/>
        </p:nvGrpSpPr>
        <p:grpSpPr>
          <a:xfrm>
            <a:off x="540271" y="5168664"/>
            <a:ext cx="6948999" cy="1004903"/>
            <a:chOff x="360598" y="5168664"/>
            <a:chExt cx="6948999" cy="1004903"/>
          </a:xfrm>
        </p:grpSpPr>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20591" y="5294290"/>
              <a:ext cx="1830986" cy="878185"/>
            </a:xfrm>
            <a:prstGeom prst="rect">
              <a:avLst/>
            </a:prstGeom>
          </p:spPr>
        </p:pic>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598" y="5295382"/>
              <a:ext cx="1584176" cy="878185"/>
            </a:xfrm>
            <a:prstGeom prst="rect">
              <a:avLst/>
            </a:prstGeom>
          </p:spPr>
        </p:pic>
        <p:pic>
          <p:nvPicPr>
            <p:cNvPr id="18" name="Picture 1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806302" y="5168664"/>
              <a:ext cx="1584176" cy="878185"/>
            </a:xfrm>
            <a:prstGeom prst="rect">
              <a:avLst/>
            </a:prstGeom>
          </p:spPr>
        </p:pic>
        <p:pic>
          <p:nvPicPr>
            <p:cNvPr id="19" name="Picture 18"/>
            <p:cNvPicPr>
              <a:picLocks noChangeAspect="1"/>
            </p:cNvPicPr>
            <p:nvPr userDrawn="1"/>
          </p:nvPicPr>
          <p:blipFill rotWithShape="1">
            <a:blip r:embed="rId6" cstate="print">
              <a:extLst>
                <a:ext uri="{28A0092B-C50C-407E-A947-70E740481C1C}">
                  <a14:useLocalDpi xmlns:a14="http://schemas.microsoft.com/office/drawing/2010/main" val="0"/>
                </a:ext>
              </a:extLst>
            </a:blip>
            <a:srcRect t="72634" b="13682"/>
            <a:stretch/>
          </p:blipFill>
          <p:spPr>
            <a:xfrm>
              <a:off x="5508823" y="5466782"/>
              <a:ext cx="1800774" cy="532756"/>
            </a:xfrm>
            <a:prstGeom prst="rect">
              <a:avLst/>
            </a:prstGeom>
          </p:spPr>
        </p:pic>
      </p:grpSp>
    </p:spTree>
    <p:extLst>
      <p:ext uri="{BB962C8B-B14F-4D97-AF65-F5344CB8AC3E}">
        <p14:creationId xmlns:p14="http://schemas.microsoft.com/office/powerpoint/2010/main" val="35893190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tandard page">
    <p:spTree>
      <p:nvGrpSpPr>
        <p:cNvPr id="1" name=""/>
        <p:cNvGrpSpPr/>
        <p:nvPr/>
      </p:nvGrpSpPr>
      <p:grpSpPr>
        <a:xfrm>
          <a:off x="0" y="0"/>
          <a:ext cx="0" cy="0"/>
          <a:chOff x="0" y="0"/>
          <a:chExt cx="0" cy="0"/>
        </a:xfrm>
      </p:grpSpPr>
      <p:sp>
        <p:nvSpPr>
          <p:cNvPr id="2" name="Title 1"/>
          <p:cNvSpPr>
            <a:spLocks noGrp="1"/>
          </p:cNvSpPr>
          <p:nvPr>
            <p:ph type="title"/>
          </p:nvPr>
        </p:nvSpPr>
        <p:spPr>
          <a:xfrm>
            <a:off x="541040" y="408236"/>
            <a:ext cx="11088404" cy="1139825"/>
          </a:xfrm>
        </p:spPr>
        <p:txBody>
          <a:bodyPr/>
          <a:lstStyle/>
          <a:p>
            <a:r>
              <a:rPr lang="en-US"/>
              <a:t>Click to edit Master title style</a:t>
            </a:r>
            <a:endParaRPr lang="en-GB"/>
          </a:p>
        </p:txBody>
      </p:sp>
      <p:sp>
        <p:nvSpPr>
          <p:cNvPr id="3" name="Slide Number Placeholder 2"/>
          <p:cNvSpPr>
            <a:spLocks noGrp="1"/>
          </p:cNvSpPr>
          <p:nvPr>
            <p:ph type="sldNum" sz="quarter" idx="10"/>
          </p:nvPr>
        </p:nvSpPr>
        <p:spPr>
          <a:xfrm>
            <a:off x="540271" y="6369099"/>
            <a:ext cx="431279" cy="367036"/>
          </a:xfrm>
        </p:spPr>
        <p:txBody>
          <a:bodyPr/>
          <a:lstStyle/>
          <a:p>
            <a:fld id="{C864BB8D-94B4-466C-94BF-D114C83BF951}" type="slidenum">
              <a:rPr lang="en-GB" smtClean="0"/>
              <a:pPr/>
              <a:t>‹#›</a:t>
            </a:fld>
            <a:endParaRPr lang="en-GB"/>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7" name="Text Placeholder 6"/>
          <p:cNvSpPr>
            <a:spLocks noGrp="1"/>
          </p:cNvSpPr>
          <p:nvPr>
            <p:ph type="body" sz="quarter" idx="11"/>
          </p:nvPr>
        </p:nvSpPr>
        <p:spPr>
          <a:xfrm>
            <a:off x="540271" y="1620839"/>
            <a:ext cx="11089232" cy="4051746"/>
          </a:xfrm>
        </p:spPr>
        <p:txBody>
          <a:bodyPr/>
          <a:lstStyle>
            <a:lvl1pPr>
              <a:defRPr>
                <a:solidFill>
                  <a:schemeClr val="accent4"/>
                </a:solidFill>
              </a:defRPr>
            </a:lvl1pPr>
            <a:lvl2pPr marL="174625" indent="-174625">
              <a:defRPr b="0">
                <a:solidFill>
                  <a:schemeClr val="accent4"/>
                </a:solidFill>
              </a:defRPr>
            </a:lvl2pPr>
            <a:lvl3pPr marL="446088" indent="-182563">
              <a:defRPr>
                <a:solidFill>
                  <a:schemeClr val="accent4"/>
                </a:solidFill>
              </a:defRPr>
            </a:lvl3pPr>
          </a:lstStyle>
          <a:p>
            <a:pPr lvl="0"/>
            <a:r>
              <a:rPr lang="en-US"/>
              <a:t>Click to edit Master text styles</a:t>
            </a:r>
          </a:p>
          <a:p>
            <a:pPr lvl="1"/>
            <a:r>
              <a:rPr lang="en-US"/>
              <a:t>Second level</a:t>
            </a:r>
          </a:p>
          <a:p>
            <a:pPr lvl="2"/>
            <a:r>
              <a:rPr lang="en-US"/>
              <a:t>Third level</a:t>
            </a:r>
          </a:p>
        </p:txBody>
      </p:sp>
      <p:sp>
        <p:nvSpPr>
          <p:cNvPr id="9"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9449134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Standard p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409E496-0F8B-4FF7-8D20-59228095B454}"/>
              </a:ext>
            </a:extLst>
          </p:cNvPr>
          <p:cNvSpPr/>
          <p:nvPr userDrawn="1"/>
        </p:nvSpPr>
        <p:spPr>
          <a:xfrm>
            <a:off x="-1" y="0"/>
            <a:ext cx="12169775" cy="6840538"/>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 name="Title 1"/>
          <p:cNvSpPr>
            <a:spLocks noGrp="1"/>
          </p:cNvSpPr>
          <p:nvPr>
            <p:ph type="title" hasCustomPrompt="1"/>
          </p:nvPr>
        </p:nvSpPr>
        <p:spPr>
          <a:xfrm>
            <a:off x="541040" y="408236"/>
            <a:ext cx="11088404" cy="1139825"/>
          </a:xfrm>
        </p:spPr>
        <p:txBody>
          <a:bodyPr/>
          <a:lstStyle>
            <a:lvl1pPr>
              <a:defRPr>
                <a:solidFill>
                  <a:schemeClr val="bg2"/>
                </a:solidFill>
              </a:defRPr>
            </a:lvl1pPr>
          </a:lstStyle>
          <a:p>
            <a:r>
              <a:rPr lang="en-US"/>
              <a:t>Transparence for full picture background</a:t>
            </a:r>
            <a:endParaRPr lang="en-GB"/>
          </a:p>
        </p:txBody>
      </p:sp>
      <p:sp>
        <p:nvSpPr>
          <p:cNvPr id="3" name="Slide Number Placeholder 2"/>
          <p:cNvSpPr>
            <a:spLocks noGrp="1"/>
          </p:cNvSpPr>
          <p:nvPr>
            <p:ph type="sldNum" sz="quarter" idx="10"/>
          </p:nvPr>
        </p:nvSpPr>
        <p:spPr>
          <a:xfrm>
            <a:off x="540271" y="6369099"/>
            <a:ext cx="431279" cy="367036"/>
          </a:xfrm>
        </p:spPr>
        <p:txBody>
          <a:bodyPr/>
          <a:lstStyle/>
          <a:p>
            <a:fld id="{C864BB8D-94B4-466C-94BF-D114C83BF951}" type="slidenum">
              <a:rPr lang="en-GB" smtClean="0"/>
              <a:pPr/>
              <a:t>‹#›</a:t>
            </a:fld>
            <a:endParaRPr lang="en-GB"/>
          </a:p>
        </p:txBody>
      </p:sp>
      <p:sp>
        <p:nvSpPr>
          <p:cNvPr id="7" name="Text Placeholder 6"/>
          <p:cNvSpPr>
            <a:spLocks noGrp="1"/>
          </p:cNvSpPr>
          <p:nvPr>
            <p:ph type="body" sz="quarter" idx="11"/>
          </p:nvPr>
        </p:nvSpPr>
        <p:spPr>
          <a:xfrm>
            <a:off x="540271" y="1620839"/>
            <a:ext cx="11089232" cy="4051746"/>
          </a:xfrm>
        </p:spPr>
        <p:txBody>
          <a:bodyPr/>
          <a:lstStyle>
            <a:lvl1pPr>
              <a:defRPr>
                <a:solidFill>
                  <a:schemeClr val="bg2"/>
                </a:solidFill>
              </a:defRPr>
            </a:lvl1pPr>
            <a:lvl2pPr marL="174625" indent="-174625">
              <a:defRPr b="0">
                <a:solidFill>
                  <a:schemeClr val="bg2"/>
                </a:solidFill>
              </a:defRPr>
            </a:lvl2pPr>
            <a:lvl3pPr marL="446088" indent="-182563">
              <a:defRPr>
                <a:solidFill>
                  <a:schemeClr val="bg2"/>
                </a:solidFill>
              </a:defRPr>
            </a:lvl3pPr>
          </a:lstStyle>
          <a:p>
            <a:pPr lvl="0"/>
            <a:r>
              <a:rPr lang="en-US"/>
              <a:t>Click to edit Master text styles</a:t>
            </a:r>
          </a:p>
          <a:p>
            <a:pPr lvl="1"/>
            <a:r>
              <a:rPr lang="en-US"/>
              <a:t>Second level</a:t>
            </a:r>
          </a:p>
          <a:p>
            <a:pPr lvl="2"/>
            <a:r>
              <a:rPr lang="en-US"/>
              <a:t>Third level</a:t>
            </a:r>
          </a:p>
        </p:txBody>
      </p:sp>
      <p:sp>
        <p:nvSpPr>
          <p:cNvPr id="9"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pic>
        <p:nvPicPr>
          <p:cNvPr id="11" name="Picture 10">
            <a:extLst>
              <a:ext uri="{FF2B5EF4-FFF2-40B4-BE49-F238E27FC236}">
                <a16:creationId xmlns:a16="http://schemas.microsoft.com/office/drawing/2014/main" id="{0E2090B7-7DF0-42CA-A0B6-B21C3B04344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Tree>
    <p:extLst>
      <p:ext uri="{BB962C8B-B14F-4D97-AF65-F5344CB8AC3E}">
        <p14:creationId xmlns:p14="http://schemas.microsoft.com/office/powerpoint/2010/main" val="151537973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 columns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7" name="Content Placeholder 6"/>
          <p:cNvSpPr>
            <a:spLocks noGrp="1"/>
          </p:cNvSpPr>
          <p:nvPr>
            <p:ph sz="quarter" idx="11"/>
          </p:nvPr>
        </p:nvSpPr>
        <p:spPr>
          <a:xfrm>
            <a:off x="539749" y="1620838"/>
            <a:ext cx="5400000" cy="4103687"/>
          </a:xfrm>
        </p:spPr>
        <p:txBody>
          <a:bodyPr/>
          <a:lstStyle>
            <a:lvl2pPr>
              <a:defRPr b="0"/>
            </a:lvl2pPr>
          </a:lstStyle>
          <a:p>
            <a:pPr lvl="0"/>
            <a:r>
              <a:rPr lang="en-US"/>
              <a:t>Click to edit Master text styles</a:t>
            </a:r>
          </a:p>
          <a:p>
            <a:pPr lvl="1"/>
            <a:r>
              <a:rPr lang="en-US"/>
              <a:t>Second level</a:t>
            </a:r>
          </a:p>
          <a:p>
            <a:pPr lvl="2"/>
            <a:r>
              <a:rPr lang="en-US"/>
              <a:t>Third level</a:t>
            </a:r>
          </a:p>
        </p:txBody>
      </p:sp>
      <p:sp>
        <p:nvSpPr>
          <p:cNvPr id="9" name="Content Placeholder 8"/>
          <p:cNvSpPr>
            <a:spLocks noGrp="1"/>
          </p:cNvSpPr>
          <p:nvPr>
            <p:ph sz="quarter" idx="12"/>
          </p:nvPr>
        </p:nvSpPr>
        <p:spPr>
          <a:xfrm>
            <a:off x="6228903" y="1620843"/>
            <a:ext cx="5400600" cy="4103478"/>
          </a:xfrm>
        </p:spPr>
        <p:txBody>
          <a:bodyPr/>
          <a:lstStyle>
            <a:lvl2pPr>
              <a:defRPr b="0"/>
            </a:lvl2pPr>
          </a:lstStyle>
          <a:p>
            <a:pPr lvl="0"/>
            <a:r>
              <a:rPr lang="en-US"/>
              <a:t>Click to edit Master text styles</a:t>
            </a:r>
          </a:p>
          <a:p>
            <a:pPr lvl="1"/>
            <a:r>
              <a:rPr lang="en-US"/>
              <a:t>Second level</a:t>
            </a:r>
          </a:p>
          <a:p>
            <a:pPr lvl="2"/>
            <a:r>
              <a:rPr lang="en-US"/>
              <a:t>Third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378636730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540271" y="408236"/>
            <a:ext cx="11089754" cy="635769"/>
          </a:xfrm>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7" name="Content Placeholder 6"/>
          <p:cNvSpPr>
            <a:spLocks noGrp="1"/>
          </p:cNvSpPr>
          <p:nvPr>
            <p:ph sz="quarter" idx="11"/>
          </p:nvPr>
        </p:nvSpPr>
        <p:spPr>
          <a:xfrm>
            <a:off x="540271" y="1116013"/>
            <a:ext cx="11089754" cy="4608512"/>
          </a:xfrm>
        </p:spPr>
        <p:txBody>
          <a:bodyPr/>
          <a:lstStyle>
            <a:lvl2pPr>
              <a:defRPr b="0"/>
            </a:lvl2pPr>
          </a:lstStyle>
          <a:p>
            <a:pPr lvl="0"/>
            <a:r>
              <a:rPr lang="en-US"/>
              <a:t>Click to edit Master text styles</a:t>
            </a:r>
          </a:p>
          <a:p>
            <a:pPr lvl="1"/>
            <a:r>
              <a:rPr lang="en-US"/>
              <a:t>Second level</a:t>
            </a:r>
          </a:p>
          <a:p>
            <a:pPr lvl="2"/>
            <a:r>
              <a:rPr lang="en-US"/>
              <a:t>Third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263860973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ifth element with picture on right side and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CF32B7-67E7-45F9-A962-ADCA304D1371}"/>
              </a:ext>
            </a:extLst>
          </p:cNvPr>
          <p:cNvSpPr>
            <a:spLocks noGrp="1"/>
          </p:cNvSpPr>
          <p:nvPr>
            <p:ph type="title"/>
          </p:nvPr>
        </p:nvSpPr>
        <p:spPr>
          <a:xfrm>
            <a:off x="541099" y="408236"/>
            <a:ext cx="6119852" cy="1139825"/>
          </a:xfrm>
        </p:spPr>
        <p:txBody>
          <a:bodyPr anchor="t" anchorCtr="0"/>
          <a:lstStyle/>
          <a:p>
            <a:r>
              <a:rPr lang="en-US"/>
              <a:t>Click to edit Master title style</a:t>
            </a:r>
            <a:endParaRPr lang="sv-SE"/>
          </a:p>
        </p:txBody>
      </p:sp>
      <p:sp>
        <p:nvSpPr>
          <p:cNvPr id="3" name="Slide Number Placeholder 2">
            <a:extLst>
              <a:ext uri="{FF2B5EF4-FFF2-40B4-BE49-F238E27FC236}">
                <a16:creationId xmlns:a16="http://schemas.microsoft.com/office/drawing/2014/main" id="{D48C233D-E49A-49D2-A1BA-5C27EAC8F9DD}"/>
              </a:ext>
            </a:extLst>
          </p:cNvPr>
          <p:cNvSpPr>
            <a:spLocks noGrp="1"/>
          </p:cNvSpPr>
          <p:nvPr>
            <p:ph type="sldNum" sz="quarter" idx="10"/>
          </p:nvPr>
        </p:nvSpPr>
        <p:spPr/>
        <p:txBody>
          <a:bodyPr/>
          <a:lstStyle/>
          <a:p>
            <a:fld id="{C864BB8D-94B4-466C-94BF-D114C83BF951}" type="slidenum">
              <a:rPr lang="en-GB" smtClean="0"/>
              <a:pPr/>
              <a:t>‹#›</a:t>
            </a:fld>
            <a:endParaRPr lang="en-GB"/>
          </a:p>
        </p:txBody>
      </p:sp>
      <p:sp>
        <p:nvSpPr>
          <p:cNvPr id="4" name="Footer Placeholder 3">
            <a:extLst>
              <a:ext uri="{FF2B5EF4-FFF2-40B4-BE49-F238E27FC236}">
                <a16:creationId xmlns:a16="http://schemas.microsoft.com/office/drawing/2014/main" id="{5EC0407B-0028-4E56-B688-65172DAEDBFA}"/>
              </a:ext>
            </a:extLst>
          </p:cNvPr>
          <p:cNvSpPr>
            <a:spLocks noGrp="1"/>
          </p:cNvSpPr>
          <p:nvPr>
            <p:ph type="ftr" sz="quarter" idx="11"/>
          </p:nvPr>
        </p:nvSpPr>
        <p:spPr/>
        <p:txBody>
          <a:bodyPr/>
          <a:lstStyle/>
          <a:p>
            <a:r>
              <a:rPr lang="en-US"/>
              <a:t>© HL Display 2019 – All rights reserved</a:t>
            </a:r>
            <a:endParaRPr lang="fr-FR"/>
          </a:p>
        </p:txBody>
      </p:sp>
      <p:sp>
        <p:nvSpPr>
          <p:cNvPr id="6" name="Text Placeholder 6">
            <a:extLst>
              <a:ext uri="{FF2B5EF4-FFF2-40B4-BE49-F238E27FC236}">
                <a16:creationId xmlns:a16="http://schemas.microsoft.com/office/drawing/2014/main" id="{EA918214-0631-461A-AA9C-21FACF61B03F}"/>
              </a:ext>
            </a:extLst>
          </p:cNvPr>
          <p:cNvSpPr>
            <a:spLocks noGrp="1"/>
          </p:cNvSpPr>
          <p:nvPr>
            <p:ph type="body" sz="quarter" idx="13"/>
          </p:nvPr>
        </p:nvSpPr>
        <p:spPr>
          <a:xfrm>
            <a:off x="540271" y="1620839"/>
            <a:ext cx="6120700" cy="4319710"/>
          </a:xfrm>
        </p:spPr>
        <p:txBody>
          <a:bodyPr/>
          <a:lstStyle>
            <a:lvl2pPr marL="174625" indent="-174625">
              <a:defRPr b="0"/>
            </a:lvl2pPr>
            <a:lvl3pPr marL="446088" indent="-182563">
              <a:defRPr/>
            </a:lvl3pPr>
          </a:lstStyle>
          <a:p>
            <a:pPr lvl="0"/>
            <a:r>
              <a:rPr lang="en-US"/>
              <a:t>Click to edit Master text styles</a:t>
            </a:r>
          </a:p>
          <a:p>
            <a:pPr lvl="1"/>
            <a:r>
              <a:rPr lang="en-US"/>
              <a:t>Second level</a:t>
            </a:r>
          </a:p>
          <a:p>
            <a:pPr lvl="2"/>
            <a:r>
              <a:rPr lang="en-US"/>
              <a:t>Third level</a:t>
            </a:r>
          </a:p>
        </p:txBody>
      </p:sp>
      <p:sp>
        <p:nvSpPr>
          <p:cNvPr id="13" name="Picture Placeholder 4">
            <a:extLst>
              <a:ext uri="{FF2B5EF4-FFF2-40B4-BE49-F238E27FC236}">
                <a16:creationId xmlns:a16="http://schemas.microsoft.com/office/drawing/2014/main" id="{97031C2C-0CC6-46C0-AD15-7744DFE72B86}"/>
              </a:ext>
            </a:extLst>
          </p:cNvPr>
          <p:cNvSpPr>
            <a:spLocks noGrp="1"/>
          </p:cNvSpPr>
          <p:nvPr>
            <p:ph type="pic" sz="quarter" idx="14"/>
          </p:nvPr>
        </p:nvSpPr>
        <p:spPr>
          <a:xfrm>
            <a:off x="6527148" y="-8021"/>
            <a:ext cx="5644231" cy="6849362"/>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 name="connsiteX0" fmla="*/ 0 w 5610543"/>
              <a:gd name="connsiteY0" fmla="*/ 0 h 6840538"/>
              <a:gd name="connsiteX1" fmla="*/ 5580063 w 5610543"/>
              <a:gd name="connsiteY1" fmla="*/ 0 h 6840538"/>
              <a:gd name="connsiteX2" fmla="*/ 5610543 w 5610543"/>
              <a:gd name="connsiteY2" fmla="*/ 6825299 h 6840538"/>
              <a:gd name="connsiteX3" fmla="*/ 0 w 5610543"/>
              <a:gd name="connsiteY3" fmla="*/ 6840538 h 6840538"/>
              <a:gd name="connsiteX4" fmla="*/ 0 w 5610543"/>
              <a:gd name="connsiteY4" fmla="*/ 0 h 6840538"/>
              <a:gd name="connsiteX0" fmla="*/ 2246811 w 5610543"/>
              <a:gd name="connsiteY0" fmla="*/ 0 h 6840538"/>
              <a:gd name="connsiteX1" fmla="*/ 5580063 w 5610543"/>
              <a:gd name="connsiteY1" fmla="*/ 0 h 6840538"/>
              <a:gd name="connsiteX2" fmla="*/ 5610543 w 5610543"/>
              <a:gd name="connsiteY2" fmla="*/ 6825299 h 6840538"/>
              <a:gd name="connsiteX3" fmla="*/ 0 w 5610543"/>
              <a:gd name="connsiteY3" fmla="*/ 6840538 h 6840538"/>
              <a:gd name="connsiteX4" fmla="*/ 2246811 w 5610543"/>
              <a:gd name="connsiteY4" fmla="*/ 0 h 6840538"/>
              <a:gd name="connsiteX0" fmla="*/ 2246811 w 5612147"/>
              <a:gd name="connsiteY0" fmla="*/ 8021 h 6848559"/>
              <a:gd name="connsiteX1" fmla="*/ 5612147 w 5612147"/>
              <a:gd name="connsiteY1" fmla="*/ 0 h 6848559"/>
              <a:gd name="connsiteX2" fmla="*/ 5610543 w 5612147"/>
              <a:gd name="connsiteY2" fmla="*/ 6833320 h 6848559"/>
              <a:gd name="connsiteX3" fmla="*/ 0 w 5612147"/>
              <a:gd name="connsiteY3" fmla="*/ 6848559 h 6848559"/>
              <a:gd name="connsiteX4" fmla="*/ 2246811 w 5612147"/>
              <a:gd name="connsiteY4" fmla="*/ 8021 h 6848559"/>
              <a:gd name="connsiteX0" fmla="*/ 2246811 w 5612147"/>
              <a:gd name="connsiteY0" fmla="*/ 8021 h 6849362"/>
              <a:gd name="connsiteX1" fmla="*/ 5612147 w 5612147"/>
              <a:gd name="connsiteY1" fmla="*/ 0 h 6849362"/>
              <a:gd name="connsiteX2" fmla="*/ 5610543 w 5612147"/>
              <a:gd name="connsiteY2" fmla="*/ 6849362 h 6849362"/>
              <a:gd name="connsiteX3" fmla="*/ 0 w 5612147"/>
              <a:gd name="connsiteY3" fmla="*/ 6848559 h 6849362"/>
              <a:gd name="connsiteX4" fmla="*/ 2246811 w 5612147"/>
              <a:gd name="connsiteY4" fmla="*/ 8021 h 6849362"/>
              <a:gd name="connsiteX0" fmla="*/ 2278895 w 5644231"/>
              <a:gd name="connsiteY0" fmla="*/ 8021 h 6849362"/>
              <a:gd name="connsiteX1" fmla="*/ 5644231 w 5644231"/>
              <a:gd name="connsiteY1" fmla="*/ 0 h 6849362"/>
              <a:gd name="connsiteX2" fmla="*/ 5642627 w 5644231"/>
              <a:gd name="connsiteY2" fmla="*/ 6849362 h 6849362"/>
              <a:gd name="connsiteX3" fmla="*/ 0 w 5644231"/>
              <a:gd name="connsiteY3" fmla="*/ 6848559 h 6849362"/>
              <a:gd name="connsiteX4" fmla="*/ 2278895 w 5644231"/>
              <a:gd name="connsiteY4" fmla="*/ 8021 h 6849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4231" h="6849362">
                <a:moveTo>
                  <a:pt x="2278895" y="8021"/>
                </a:moveTo>
                <a:lnTo>
                  <a:pt x="5644231" y="0"/>
                </a:lnTo>
                <a:cubicBezTo>
                  <a:pt x="5643696" y="2277773"/>
                  <a:pt x="5643162" y="4571589"/>
                  <a:pt x="5642627" y="6849362"/>
                </a:cubicBezTo>
                <a:lnTo>
                  <a:pt x="0" y="6848559"/>
                </a:lnTo>
                <a:lnTo>
                  <a:pt x="2278895" y="8021"/>
                </a:lnTo>
                <a:close/>
              </a:path>
            </a:pathLst>
          </a:custGeom>
        </p:spPr>
        <p:txBody>
          <a:bodyPr/>
          <a:lstStyle>
            <a:lvl1pPr>
              <a:defRPr>
                <a:solidFill>
                  <a:schemeClr val="bg1"/>
                </a:solidFill>
              </a:defRPr>
            </a:lvl1pPr>
          </a:lstStyle>
          <a:p>
            <a:endParaRPr lang="en-GB"/>
          </a:p>
        </p:txBody>
      </p:sp>
    </p:spTree>
    <p:extLst>
      <p:ext uri="{BB962C8B-B14F-4D97-AF65-F5344CB8AC3E}">
        <p14:creationId xmlns:p14="http://schemas.microsoft.com/office/powerpoint/2010/main" val="336815350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Fifth element with picture on left side with white background">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5580063" cy="6840538"/>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 name="connsiteX0" fmla="*/ 0 w 5580063"/>
              <a:gd name="connsiteY0" fmla="*/ 0 h 6840538"/>
              <a:gd name="connsiteX1" fmla="*/ 5580063 w 5580063"/>
              <a:gd name="connsiteY1" fmla="*/ 0 h 6840538"/>
              <a:gd name="connsiteX2" fmla="*/ 3314689 w 5580063"/>
              <a:gd name="connsiteY2" fmla="*/ 6827361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298647 w 5580063"/>
              <a:gd name="connsiteY2" fmla="*/ 581670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298647 w 5580063"/>
              <a:gd name="connsiteY2" fmla="*/ 6835382 h 6840538"/>
              <a:gd name="connsiteX3" fmla="*/ 0 w 5580063"/>
              <a:gd name="connsiteY3" fmla="*/ 6840538 h 6840538"/>
              <a:gd name="connsiteX4" fmla="*/ 0 w 5580063"/>
              <a:gd name="connsiteY4" fmla="*/ 0 h 684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40538">
                <a:moveTo>
                  <a:pt x="0" y="0"/>
                </a:moveTo>
                <a:lnTo>
                  <a:pt x="5580063" y="0"/>
                </a:lnTo>
                <a:lnTo>
                  <a:pt x="3298647" y="6835382"/>
                </a:lnTo>
                <a:lnTo>
                  <a:pt x="0" y="6840538"/>
                </a:lnTo>
                <a:lnTo>
                  <a:pt x="0" y="0"/>
                </a:lnTo>
                <a:close/>
              </a:path>
            </a:pathLst>
          </a:custGeom>
        </p:spPr>
        <p:txBody>
          <a:bodyPr/>
          <a:lstStyle/>
          <a:p>
            <a:endParaRPr lang="en-GB"/>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8" name="Title 1">
            <a:extLst>
              <a:ext uri="{FF2B5EF4-FFF2-40B4-BE49-F238E27FC236}">
                <a16:creationId xmlns:a16="http://schemas.microsoft.com/office/drawing/2014/main" id="{C8BB1FAE-292E-4157-8976-7FE70CE00F3C}"/>
              </a:ext>
            </a:extLst>
          </p:cNvPr>
          <p:cNvSpPr>
            <a:spLocks noGrp="1"/>
          </p:cNvSpPr>
          <p:nvPr>
            <p:ph type="title"/>
          </p:nvPr>
        </p:nvSpPr>
        <p:spPr>
          <a:xfrm>
            <a:off x="5607315" y="395933"/>
            <a:ext cx="6022188" cy="1139825"/>
          </a:xfrm>
        </p:spPr>
        <p:txBody>
          <a:bodyPr anchor="t" anchorCtr="0"/>
          <a:lstStyle/>
          <a:p>
            <a:r>
              <a:rPr lang="en-US"/>
              <a:t>Click to edit Master title style</a:t>
            </a:r>
            <a:endParaRPr lang="sv-SE"/>
          </a:p>
        </p:txBody>
      </p:sp>
      <p:sp>
        <p:nvSpPr>
          <p:cNvPr id="9" name="Text Placeholder 6">
            <a:extLst>
              <a:ext uri="{FF2B5EF4-FFF2-40B4-BE49-F238E27FC236}">
                <a16:creationId xmlns:a16="http://schemas.microsoft.com/office/drawing/2014/main" id="{9A537318-C454-4000-AF34-50B2B34EEB8A}"/>
              </a:ext>
            </a:extLst>
          </p:cNvPr>
          <p:cNvSpPr>
            <a:spLocks noGrp="1"/>
          </p:cNvSpPr>
          <p:nvPr>
            <p:ph type="body" sz="quarter" idx="13"/>
          </p:nvPr>
        </p:nvSpPr>
        <p:spPr>
          <a:xfrm>
            <a:off x="5609101" y="1620838"/>
            <a:ext cx="6020401" cy="4103687"/>
          </a:xfrm>
        </p:spPr>
        <p:txBody>
          <a:bodyPr/>
          <a:lstStyle>
            <a:lvl1pPr>
              <a:defRPr>
                <a:solidFill>
                  <a:schemeClr val="accent4"/>
                </a:solidFill>
              </a:defRPr>
            </a:lvl1pPr>
            <a:lvl2pPr marL="174625" indent="-174625">
              <a:defRPr b="0">
                <a:solidFill>
                  <a:schemeClr val="accent4"/>
                </a:solidFill>
              </a:defRPr>
            </a:lvl2pPr>
            <a:lvl3pPr marL="446088" indent="-182563">
              <a:defRPr>
                <a:solidFill>
                  <a:schemeClr val="accent4"/>
                </a:solidFill>
              </a:defRPr>
            </a:lvl3pPr>
          </a:lstStyle>
          <a:p>
            <a:pPr lvl="0"/>
            <a:r>
              <a:rPr lang="en-US"/>
              <a:t>Click to edit Master text styles</a:t>
            </a:r>
          </a:p>
          <a:p>
            <a:pPr lvl="1"/>
            <a:r>
              <a:rPr lang="en-US"/>
              <a:t>Second level</a:t>
            </a:r>
          </a:p>
          <a:p>
            <a:pPr lvl="2"/>
            <a:r>
              <a:rPr lang="en-US"/>
              <a:t>Third level</a:t>
            </a:r>
          </a:p>
        </p:txBody>
      </p:sp>
      <p:sp>
        <p:nvSpPr>
          <p:cNvPr id="11" name="Slide Number Placeholder 5">
            <a:extLst>
              <a:ext uri="{FF2B5EF4-FFF2-40B4-BE49-F238E27FC236}">
                <a16:creationId xmlns:a16="http://schemas.microsoft.com/office/drawing/2014/main" id="{68058425-CE1E-4614-9BA2-469816F85DE2}"/>
              </a:ext>
            </a:extLst>
          </p:cNvPr>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rtl="0" fontAlgn="base">
              <a:spcBef>
                <a:spcPct val="0"/>
              </a:spcBef>
              <a:spcAft>
                <a:spcPct val="0"/>
              </a:spcAft>
              <a:defRPr lang="en-GB" sz="1000" kern="1200" smtClean="0">
                <a:solidFill>
                  <a:schemeClr val="bg1"/>
                </a:solidFill>
                <a:latin typeface="Arial" pitchFamily="34" charset="0"/>
                <a:ea typeface="+mn-ea"/>
                <a:cs typeface="Arial" pitchFamily="34" charset="0"/>
              </a:defRPr>
            </a:lvl1pPr>
          </a:lstStyle>
          <a:p>
            <a:fld id="{C864BB8D-94B4-466C-94BF-D114C83BF951}" type="slidenum">
              <a:rPr lang="sv-SE" smtClean="0"/>
              <a:pPr/>
              <a:t>‹#›</a:t>
            </a:fld>
            <a:endParaRPr lang="sv-SE"/>
          </a:p>
        </p:txBody>
      </p:sp>
      <p:sp>
        <p:nvSpPr>
          <p:cNvPr id="12" name="Footer Placeholder 3">
            <a:extLst>
              <a:ext uri="{FF2B5EF4-FFF2-40B4-BE49-F238E27FC236}">
                <a16:creationId xmlns:a16="http://schemas.microsoft.com/office/drawing/2014/main" id="{F4E754B6-AB21-4195-B464-531BCF6DB10D}"/>
              </a:ext>
            </a:extLst>
          </p:cNvPr>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8018332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ndard page">
    <p:spTree>
      <p:nvGrpSpPr>
        <p:cNvPr id="1" name=""/>
        <p:cNvGrpSpPr/>
        <p:nvPr/>
      </p:nvGrpSpPr>
      <p:grpSpPr>
        <a:xfrm>
          <a:off x="0" y="0"/>
          <a:ext cx="0" cy="0"/>
          <a:chOff x="0" y="0"/>
          <a:chExt cx="0" cy="0"/>
        </a:xfrm>
      </p:grpSpPr>
      <p:sp>
        <p:nvSpPr>
          <p:cNvPr id="2" name="Title 1"/>
          <p:cNvSpPr>
            <a:spLocks noGrp="1"/>
          </p:cNvSpPr>
          <p:nvPr>
            <p:ph type="title"/>
          </p:nvPr>
        </p:nvSpPr>
        <p:spPr>
          <a:xfrm>
            <a:off x="972319" y="408236"/>
            <a:ext cx="10297144" cy="1139825"/>
          </a:xfrm>
        </p:spPr>
        <p:txBody>
          <a:bodyPr/>
          <a:lstStyle/>
          <a:p>
            <a:r>
              <a:rPr lang="en-US"/>
              <a:t>Click to edit Master title style</a:t>
            </a:r>
            <a:endParaRPr lang="en-GB"/>
          </a:p>
        </p:txBody>
      </p:sp>
      <p:sp>
        <p:nvSpPr>
          <p:cNvPr id="3" name="Slide Number Placeholder 2"/>
          <p:cNvSpPr>
            <a:spLocks noGrp="1"/>
          </p:cNvSpPr>
          <p:nvPr>
            <p:ph type="sldNum" sz="quarter" idx="10"/>
          </p:nvPr>
        </p:nvSpPr>
        <p:spPr>
          <a:xfrm>
            <a:off x="468263" y="6369099"/>
            <a:ext cx="503287" cy="363538"/>
          </a:xfrm>
        </p:spPr>
        <p:txBody>
          <a:bodyPr/>
          <a:lstStyle/>
          <a:p>
            <a:fld id="{C864BB8D-94B4-466C-94BF-D114C83BF951}" type="slidenum">
              <a:rPr lang="en-GB" smtClean="0"/>
              <a:pPr/>
              <a:t>‹#›</a:t>
            </a:fld>
            <a:endParaRPr lang="en-GB"/>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4155" y="5904252"/>
            <a:ext cx="885348" cy="540353"/>
          </a:xfrm>
          <a:prstGeom prst="rect">
            <a:avLst/>
          </a:prstGeom>
        </p:spPr>
      </p:pic>
      <p:sp>
        <p:nvSpPr>
          <p:cNvPr id="7" name="Text Placeholder 6"/>
          <p:cNvSpPr>
            <a:spLocks noGrp="1"/>
          </p:cNvSpPr>
          <p:nvPr>
            <p:ph type="body" sz="quarter" idx="11"/>
          </p:nvPr>
        </p:nvSpPr>
        <p:spPr>
          <a:xfrm>
            <a:off x="971550" y="2001600"/>
            <a:ext cx="10297913" cy="3959671"/>
          </a:xfrm>
        </p:spPr>
        <p:txBody>
          <a:bodyPr/>
          <a:lstStyle>
            <a:lvl2pPr marL="174625" indent="-174625">
              <a:defRPr b="0"/>
            </a:lvl2pPr>
            <a:lvl3pPr marL="446088" indent="-182563">
              <a:defRPr/>
            </a:lvl3pPr>
          </a:lstStyle>
          <a:p>
            <a:pPr lvl="0"/>
            <a:r>
              <a:rPr lang="en-US"/>
              <a:t>Click to edit Master text styles</a:t>
            </a:r>
          </a:p>
          <a:p>
            <a:pPr lvl="1"/>
            <a:r>
              <a:rPr lang="en-US"/>
              <a:t>Second level</a:t>
            </a:r>
          </a:p>
          <a:p>
            <a:pPr lvl="2"/>
            <a:r>
              <a:rPr lang="en-US"/>
              <a:t>Third level</a:t>
            </a:r>
          </a:p>
        </p:txBody>
      </p:sp>
      <p:sp>
        <p:nvSpPr>
          <p:cNvPr id="9"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7 – All rights reserved</a:t>
            </a:r>
            <a:endParaRPr lang="fr-FR"/>
          </a:p>
        </p:txBody>
      </p:sp>
    </p:spTree>
    <p:extLst>
      <p:ext uri="{BB962C8B-B14F-4D97-AF65-F5344CB8AC3E}">
        <p14:creationId xmlns:p14="http://schemas.microsoft.com/office/powerpoint/2010/main" val="197032513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lose ups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4" name="Picture Placeholder 4"/>
          <p:cNvSpPr>
            <a:spLocks noGrp="1"/>
          </p:cNvSpPr>
          <p:nvPr>
            <p:ph type="pic" sz="quarter" idx="12"/>
          </p:nvPr>
        </p:nvSpPr>
        <p:spPr>
          <a:xfrm>
            <a:off x="4288248" y="1680210"/>
            <a:ext cx="3599871" cy="3180218"/>
          </a:xfrm>
        </p:spPr>
        <p:txBody>
          <a:bodyPr/>
          <a:lstStyle/>
          <a:p>
            <a:endParaRPr lang="fr-FR"/>
          </a:p>
        </p:txBody>
      </p:sp>
      <p:sp>
        <p:nvSpPr>
          <p:cNvPr id="5" name="Picture Placeholder 4"/>
          <p:cNvSpPr>
            <a:spLocks noGrp="1"/>
          </p:cNvSpPr>
          <p:nvPr>
            <p:ph type="pic" sz="quarter" idx="13"/>
          </p:nvPr>
        </p:nvSpPr>
        <p:spPr>
          <a:xfrm>
            <a:off x="8030153" y="1680210"/>
            <a:ext cx="3599871" cy="3180218"/>
          </a:xfrm>
        </p:spPr>
        <p:txBody>
          <a:bodyPr/>
          <a:lstStyle/>
          <a:p>
            <a:endParaRPr lang="fr-FR"/>
          </a:p>
        </p:txBody>
      </p:sp>
      <p:sp>
        <p:nvSpPr>
          <p:cNvPr id="6" name="Text Placeholder 15"/>
          <p:cNvSpPr>
            <a:spLocks noGrp="1"/>
          </p:cNvSpPr>
          <p:nvPr>
            <p:ph type="body" sz="quarter" idx="17"/>
          </p:nvPr>
        </p:nvSpPr>
        <p:spPr>
          <a:xfrm>
            <a:off x="539750" y="5076230"/>
            <a:ext cx="3583772" cy="360263"/>
          </a:xfrm>
        </p:spPr>
        <p:txBody>
          <a:bodyPr>
            <a:noAutofit/>
          </a:bodyPr>
          <a:lstStyle>
            <a:lvl1pPr>
              <a:defRPr sz="1600"/>
            </a:lvl1pPr>
          </a:lstStyle>
          <a:p>
            <a:pPr lvl="0"/>
            <a:r>
              <a:rPr lang="en-US"/>
              <a:t>Edit Master text styles</a:t>
            </a:r>
          </a:p>
        </p:txBody>
      </p:sp>
      <p:sp>
        <p:nvSpPr>
          <p:cNvPr id="7" name="Text Placeholder 15"/>
          <p:cNvSpPr>
            <a:spLocks noGrp="1"/>
          </p:cNvSpPr>
          <p:nvPr>
            <p:ph type="body" sz="quarter" idx="18"/>
          </p:nvPr>
        </p:nvSpPr>
        <p:spPr>
          <a:xfrm>
            <a:off x="4288249" y="5076230"/>
            <a:ext cx="3599870" cy="360263"/>
          </a:xfrm>
        </p:spPr>
        <p:txBody>
          <a:bodyPr>
            <a:noAutofit/>
          </a:bodyPr>
          <a:lstStyle>
            <a:lvl1pPr>
              <a:defRPr sz="1600"/>
            </a:lvl1pPr>
          </a:lstStyle>
          <a:p>
            <a:pPr lvl="0"/>
            <a:r>
              <a:rPr lang="en-US"/>
              <a:t>Edit Master text styles</a:t>
            </a:r>
          </a:p>
        </p:txBody>
      </p:sp>
      <p:sp>
        <p:nvSpPr>
          <p:cNvPr id="8" name="Text Placeholder 15"/>
          <p:cNvSpPr>
            <a:spLocks noGrp="1"/>
          </p:cNvSpPr>
          <p:nvPr>
            <p:ph type="body" sz="quarter" idx="19"/>
          </p:nvPr>
        </p:nvSpPr>
        <p:spPr>
          <a:xfrm>
            <a:off x="8030153" y="5076230"/>
            <a:ext cx="3599872" cy="360263"/>
          </a:xfrm>
        </p:spPr>
        <p:txBody>
          <a:bodyPr>
            <a:noAutofit/>
          </a:bodyPr>
          <a:lstStyle>
            <a:lvl1pPr>
              <a:defRPr sz="1600"/>
            </a:lvl1pPr>
          </a:lstStyle>
          <a:p>
            <a:pPr lvl="0"/>
            <a:r>
              <a:rPr lang="en-US"/>
              <a:t>Edit Master text styles</a:t>
            </a:r>
          </a:p>
        </p:txBody>
      </p:sp>
      <p:sp>
        <p:nvSpPr>
          <p:cNvPr id="9" name="Picture Placeholder 28"/>
          <p:cNvSpPr>
            <a:spLocks noGrp="1"/>
          </p:cNvSpPr>
          <p:nvPr>
            <p:ph type="pic" sz="quarter" idx="20"/>
          </p:nvPr>
        </p:nvSpPr>
        <p:spPr>
          <a:xfrm>
            <a:off x="562442" y="1683112"/>
            <a:ext cx="3583772" cy="3177316"/>
          </a:xfrm>
          <a:custGeom>
            <a:avLst/>
            <a:gdLst>
              <a:gd name="connsiteX0" fmla="*/ 0 w 3444875"/>
              <a:gd name="connsiteY0" fmla="*/ 3149699 h 3149699"/>
              <a:gd name="connsiteX1" fmla="*/ 787425 w 3444875"/>
              <a:gd name="connsiteY1" fmla="*/ 0 h 3149699"/>
              <a:gd name="connsiteX2" fmla="*/ 3444875 w 3444875"/>
              <a:gd name="connsiteY2" fmla="*/ 0 h 3149699"/>
              <a:gd name="connsiteX3" fmla="*/ 2657450 w 3444875"/>
              <a:gd name="connsiteY3" fmla="*/ 3149699 h 3149699"/>
              <a:gd name="connsiteX4" fmla="*/ 0 w 3444875"/>
              <a:gd name="connsiteY4" fmla="*/ 3149699 h 3149699"/>
              <a:gd name="connsiteX0" fmla="*/ 0 w 3444875"/>
              <a:gd name="connsiteY0" fmla="*/ 3149699 h 3161274"/>
              <a:gd name="connsiteX1" fmla="*/ 787425 w 3444875"/>
              <a:gd name="connsiteY1" fmla="*/ 0 h 3161274"/>
              <a:gd name="connsiteX2" fmla="*/ 3444875 w 3444875"/>
              <a:gd name="connsiteY2" fmla="*/ 0 h 3161274"/>
              <a:gd name="connsiteX3" fmla="*/ 3375081 w 3444875"/>
              <a:gd name="connsiteY3" fmla="*/ 3161274 h 3161274"/>
              <a:gd name="connsiteX4" fmla="*/ 0 w 3444875"/>
              <a:gd name="connsiteY4" fmla="*/ 3149699 h 3161274"/>
              <a:gd name="connsiteX0" fmla="*/ 0 w 3444875"/>
              <a:gd name="connsiteY0" fmla="*/ 3149699 h 3161274"/>
              <a:gd name="connsiteX1" fmla="*/ 787425 w 3444875"/>
              <a:gd name="connsiteY1" fmla="*/ 0 h 3161274"/>
              <a:gd name="connsiteX2" fmla="*/ 3444875 w 3444875"/>
              <a:gd name="connsiteY2" fmla="*/ 0 h 3161274"/>
              <a:gd name="connsiteX3" fmla="*/ 3432955 w 3444875"/>
              <a:gd name="connsiteY3" fmla="*/ 3161274 h 3161274"/>
              <a:gd name="connsiteX4" fmla="*/ 0 w 3444875"/>
              <a:gd name="connsiteY4" fmla="*/ 3149699 h 3161274"/>
              <a:gd name="connsiteX0" fmla="*/ 0 w 3583772"/>
              <a:gd name="connsiteY0" fmla="*/ 3161274 h 3161274"/>
              <a:gd name="connsiteX1" fmla="*/ 926322 w 3583772"/>
              <a:gd name="connsiteY1" fmla="*/ 0 h 3161274"/>
              <a:gd name="connsiteX2" fmla="*/ 3583772 w 3583772"/>
              <a:gd name="connsiteY2" fmla="*/ 0 h 3161274"/>
              <a:gd name="connsiteX3" fmla="*/ 3571852 w 3583772"/>
              <a:gd name="connsiteY3" fmla="*/ 3161274 h 3161274"/>
              <a:gd name="connsiteX4" fmla="*/ 0 w 3583772"/>
              <a:gd name="connsiteY4" fmla="*/ 3161274 h 3161274"/>
              <a:gd name="connsiteX0" fmla="*/ 0 w 3583772"/>
              <a:gd name="connsiteY0" fmla="*/ 3161274 h 3161274"/>
              <a:gd name="connsiteX1" fmla="*/ 1030596 w 3583772"/>
              <a:gd name="connsiteY1" fmla="*/ 0 h 3161274"/>
              <a:gd name="connsiteX2" fmla="*/ 3583772 w 3583772"/>
              <a:gd name="connsiteY2" fmla="*/ 0 h 3161274"/>
              <a:gd name="connsiteX3" fmla="*/ 3571852 w 3583772"/>
              <a:gd name="connsiteY3" fmla="*/ 3161274 h 3161274"/>
              <a:gd name="connsiteX4" fmla="*/ 0 w 3583772"/>
              <a:gd name="connsiteY4" fmla="*/ 3161274 h 3161274"/>
              <a:gd name="connsiteX0" fmla="*/ 0 w 3583772"/>
              <a:gd name="connsiteY0" fmla="*/ 3177316 h 3177316"/>
              <a:gd name="connsiteX1" fmla="*/ 1062680 w 3583772"/>
              <a:gd name="connsiteY1" fmla="*/ 0 h 3177316"/>
              <a:gd name="connsiteX2" fmla="*/ 3583772 w 3583772"/>
              <a:gd name="connsiteY2" fmla="*/ 16042 h 3177316"/>
              <a:gd name="connsiteX3" fmla="*/ 3571852 w 3583772"/>
              <a:gd name="connsiteY3" fmla="*/ 3177316 h 3177316"/>
              <a:gd name="connsiteX4" fmla="*/ 0 w 3583772"/>
              <a:gd name="connsiteY4" fmla="*/ 3177316 h 3177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3772" h="3177316">
                <a:moveTo>
                  <a:pt x="0" y="3177316"/>
                </a:moveTo>
                <a:lnTo>
                  <a:pt x="1062680" y="0"/>
                </a:lnTo>
                <a:lnTo>
                  <a:pt x="3583772" y="16042"/>
                </a:lnTo>
                <a:cubicBezTo>
                  <a:pt x="3579799" y="1069800"/>
                  <a:pt x="3575825" y="2123558"/>
                  <a:pt x="3571852" y="3177316"/>
                </a:cubicBezTo>
                <a:lnTo>
                  <a:pt x="0" y="3177316"/>
                </a:lnTo>
                <a:close/>
              </a:path>
            </a:pathLst>
          </a:custGeom>
          <a:noFill/>
        </p:spPr>
        <p:txBody>
          <a:bodyPr/>
          <a:lstStyle/>
          <a:p>
            <a:endParaRPr lang="fr-FR"/>
          </a:p>
        </p:txBody>
      </p:sp>
      <p:sp>
        <p:nvSpPr>
          <p:cNvPr id="11"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pic>
        <p:nvPicPr>
          <p:cNvPr id="12" name="Picture 11">
            <a:extLst>
              <a:ext uri="{FF2B5EF4-FFF2-40B4-BE49-F238E27FC236}">
                <a16:creationId xmlns:a16="http://schemas.microsoft.com/office/drawing/2014/main" id="{7265A276-E0C9-41CF-9573-D3228C6D698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Tree>
    <p:extLst>
      <p:ext uri="{BB962C8B-B14F-4D97-AF65-F5344CB8AC3E}">
        <p14:creationId xmlns:p14="http://schemas.microsoft.com/office/powerpoint/2010/main" val="234383604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hapter pa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0165" y="1908101"/>
            <a:ext cx="10589444" cy="995809"/>
          </a:xfrm>
        </p:spPr>
        <p:txBody>
          <a:bodyPr>
            <a:noAutofit/>
          </a:bodyPr>
          <a:lstStyle>
            <a:lvl1pPr algn="ctr">
              <a:defRPr sz="4000">
                <a:solidFill>
                  <a:schemeClr val="bg2"/>
                </a:solidFill>
              </a:defRPr>
            </a:lvl1pPr>
          </a:lstStyle>
          <a:p>
            <a:r>
              <a:rPr lang="en-US"/>
              <a:t>Click to edit Master title sty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
        <p:nvSpPr>
          <p:cNvPr id="7"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32135900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ue fifth element with picture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8B57492-A1DF-4E96-AC19-E82F25ADCE3D}"/>
              </a:ext>
            </a:extLst>
          </p:cNvPr>
          <p:cNvSpPr/>
          <p:nvPr userDrawn="1"/>
        </p:nvSpPr>
        <p:spPr>
          <a:xfrm>
            <a:off x="-14939" y="-9627"/>
            <a:ext cx="6099827" cy="6853029"/>
          </a:xfrm>
          <a:custGeom>
            <a:avLst/>
            <a:gdLst>
              <a:gd name="connsiteX0" fmla="*/ 0 w 5580063"/>
              <a:gd name="connsiteY0" fmla="*/ 0 h 6851424"/>
              <a:gd name="connsiteX1" fmla="*/ 5580063 w 5580063"/>
              <a:gd name="connsiteY1" fmla="*/ 0 h 6851424"/>
              <a:gd name="connsiteX2" fmla="*/ 5580063 w 5580063"/>
              <a:gd name="connsiteY2" fmla="*/ 6851424 h 6851424"/>
              <a:gd name="connsiteX3" fmla="*/ 0 w 5580063"/>
              <a:gd name="connsiteY3" fmla="*/ 6851424 h 6851424"/>
              <a:gd name="connsiteX4" fmla="*/ 0 w 5580063"/>
              <a:gd name="connsiteY4" fmla="*/ 0 h 6851424"/>
              <a:gd name="connsiteX0" fmla="*/ 0 w 5580063"/>
              <a:gd name="connsiteY0" fmla="*/ 0 h 6861934"/>
              <a:gd name="connsiteX1" fmla="*/ 5580063 w 5580063"/>
              <a:gd name="connsiteY1" fmla="*/ 0 h 6861934"/>
              <a:gd name="connsiteX2" fmla="*/ 3898408 w 5580063"/>
              <a:gd name="connsiteY2" fmla="*/ 6861934 h 6861934"/>
              <a:gd name="connsiteX3" fmla="*/ 0 w 5580063"/>
              <a:gd name="connsiteY3" fmla="*/ 6851424 h 6861934"/>
              <a:gd name="connsiteX4" fmla="*/ 0 w 5580063"/>
              <a:gd name="connsiteY4" fmla="*/ 0 h 6861934"/>
              <a:gd name="connsiteX0" fmla="*/ 0 w 5580063"/>
              <a:gd name="connsiteY0" fmla="*/ 0 h 6851424"/>
              <a:gd name="connsiteX1" fmla="*/ 5580063 w 5580063"/>
              <a:gd name="connsiteY1" fmla="*/ 0 h 6851424"/>
              <a:gd name="connsiteX2" fmla="*/ 3057580 w 5580063"/>
              <a:gd name="connsiteY2" fmla="*/ 6851424 h 6851424"/>
              <a:gd name="connsiteX3" fmla="*/ 0 w 5580063"/>
              <a:gd name="connsiteY3" fmla="*/ 6851424 h 6851424"/>
              <a:gd name="connsiteX4" fmla="*/ 0 w 5580063"/>
              <a:gd name="connsiteY4" fmla="*/ 0 h 6851424"/>
              <a:gd name="connsiteX0" fmla="*/ 0 w 5580063"/>
              <a:gd name="connsiteY0" fmla="*/ 0 h 6851424"/>
              <a:gd name="connsiteX1" fmla="*/ 5580063 w 5580063"/>
              <a:gd name="connsiteY1" fmla="*/ 0 h 6851424"/>
              <a:gd name="connsiteX2" fmla="*/ 3404422 w 5580063"/>
              <a:gd name="connsiteY2" fmla="*/ 6851424 h 6851424"/>
              <a:gd name="connsiteX3" fmla="*/ 0 w 5580063"/>
              <a:gd name="connsiteY3" fmla="*/ 6851424 h 6851424"/>
              <a:gd name="connsiteX4" fmla="*/ 0 w 5580063"/>
              <a:gd name="connsiteY4" fmla="*/ 0 h 6851424"/>
              <a:gd name="connsiteX0" fmla="*/ 0 w 5580063"/>
              <a:gd name="connsiteY0" fmla="*/ 0 h 6851424"/>
              <a:gd name="connsiteX1" fmla="*/ 5580063 w 5580063"/>
              <a:gd name="connsiteY1" fmla="*/ 0 h 6851424"/>
              <a:gd name="connsiteX2" fmla="*/ 3300149 w 5580063"/>
              <a:gd name="connsiteY2" fmla="*/ 6835382 h 6851424"/>
              <a:gd name="connsiteX3" fmla="*/ 0 w 5580063"/>
              <a:gd name="connsiteY3" fmla="*/ 6851424 h 6851424"/>
              <a:gd name="connsiteX4" fmla="*/ 0 w 5580063"/>
              <a:gd name="connsiteY4" fmla="*/ 0 h 6851424"/>
              <a:gd name="connsiteX0" fmla="*/ 0 w 5580063"/>
              <a:gd name="connsiteY0" fmla="*/ 0 h 6851424"/>
              <a:gd name="connsiteX1" fmla="*/ 5580063 w 5580063"/>
              <a:gd name="connsiteY1" fmla="*/ 0 h 6851424"/>
              <a:gd name="connsiteX2" fmla="*/ 3300149 w 5580063"/>
              <a:gd name="connsiteY2" fmla="*/ 6843403 h 6851424"/>
              <a:gd name="connsiteX3" fmla="*/ 0 w 5580063"/>
              <a:gd name="connsiteY3" fmla="*/ 6851424 h 6851424"/>
              <a:gd name="connsiteX4" fmla="*/ 0 w 5580063"/>
              <a:gd name="connsiteY4" fmla="*/ 0 h 6851424"/>
              <a:gd name="connsiteX0" fmla="*/ 0 w 5580063"/>
              <a:gd name="connsiteY0" fmla="*/ 0 h 7108098"/>
              <a:gd name="connsiteX1" fmla="*/ 5580063 w 5580063"/>
              <a:gd name="connsiteY1" fmla="*/ 0 h 7108098"/>
              <a:gd name="connsiteX2" fmla="*/ 2714612 w 5580063"/>
              <a:gd name="connsiteY2" fmla="*/ 7108098 h 7108098"/>
              <a:gd name="connsiteX3" fmla="*/ 0 w 5580063"/>
              <a:gd name="connsiteY3" fmla="*/ 6851424 h 7108098"/>
              <a:gd name="connsiteX4" fmla="*/ 0 w 5580063"/>
              <a:gd name="connsiteY4" fmla="*/ 0 h 7108098"/>
              <a:gd name="connsiteX0" fmla="*/ 0 w 5580063"/>
              <a:gd name="connsiteY0" fmla="*/ 0 h 6851424"/>
              <a:gd name="connsiteX1" fmla="*/ 5580063 w 5580063"/>
              <a:gd name="connsiteY1" fmla="*/ 0 h 6851424"/>
              <a:gd name="connsiteX2" fmla="*/ 3300149 w 5580063"/>
              <a:gd name="connsiteY2" fmla="*/ 6843403 h 6851424"/>
              <a:gd name="connsiteX3" fmla="*/ 0 w 5580063"/>
              <a:gd name="connsiteY3" fmla="*/ 6851424 h 6851424"/>
              <a:gd name="connsiteX4" fmla="*/ 0 w 5580063"/>
              <a:gd name="connsiteY4" fmla="*/ 0 h 6851424"/>
              <a:gd name="connsiteX0" fmla="*/ 0 w 5734067"/>
              <a:gd name="connsiteY0" fmla="*/ 0 h 6861050"/>
              <a:gd name="connsiteX1" fmla="*/ 5734067 w 5734067"/>
              <a:gd name="connsiteY1" fmla="*/ 9626 h 6861050"/>
              <a:gd name="connsiteX2" fmla="*/ 3454153 w 5734067"/>
              <a:gd name="connsiteY2" fmla="*/ 6853029 h 6861050"/>
              <a:gd name="connsiteX3" fmla="*/ 154004 w 5734067"/>
              <a:gd name="connsiteY3" fmla="*/ 6861050 h 6861050"/>
              <a:gd name="connsiteX4" fmla="*/ 0 w 5734067"/>
              <a:gd name="connsiteY4" fmla="*/ 0 h 6861050"/>
              <a:gd name="connsiteX0" fmla="*/ 0 w 5734067"/>
              <a:gd name="connsiteY0" fmla="*/ 0 h 6861050"/>
              <a:gd name="connsiteX1" fmla="*/ 5734067 w 5734067"/>
              <a:gd name="connsiteY1" fmla="*/ 9626 h 6861050"/>
              <a:gd name="connsiteX2" fmla="*/ 3454153 w 5734067"/>
              <a:gd name="connsiteY2" fmla="*/ 6853029 h 6861050"/>
              <a:gd name="connsiteX3" fmla="*/ 0 w 5734067"/>
              <a:gd name="connsiteY3" fmla="*/ 6861050 h 6861050"/>
              <a:gd name="connsiteX4" fmla="*/ 0 w 5734067"/>
              <a:gd name="connsiteY4" fmla="*/ 0 h 6861050"/>
              <a:gd name="connsiteX0" fmla="*/ 0 w 5734067"/>
              <a:gd name="connsiteY0" fmla="*/ 0 h 6853029"/>
              <a:gd name="connsiteX1" fmla="*/ 5734067 w 5734067"/>
              <a:gd name="connsiteY1" fmla="*/ 9626 h 6853029"/>
              <a:gd name="connsiteX2" fmla="*/ 3454153 w 5734067"/>
              <a:gd name="connsiteY2" fmla="*/ 6853029 h 6853029"/>
              <a:gd name="connsiteX3" fmla="*/ 298383 w 5734067"/>
              <a:gd name="connsiteY3" fmla="*/ 6466414 h 6853029"/>
              <a:gd name="connsiteX4" fmla="*/ 0 w 5734067"/>
              <a:gd name="connsiteY4" fmla="*/ 0 h 6853029"/>
              <a:gd name="connsiteX0" fmla="*/ 0 w 5734067"/>
              <a:gd name="connsiteY0" fmla="*/ 0 h 6853029"/>
              <a:gd name="connsiteX1" fmla="*/ 5734067 w 5734067"/>
              <a:gd name="connsiteY1" fmla="*/ 9626 h 6853029"/>
              <a:gd name="connsiteX2" fmla="*/ 3454153 w 5734067"/>
              <a:gd name="connsiteY2" fmla="*/ 6853029 h 6853029"/>
              <a:gd name="connsiteX3" fmla="*/ 9625 w 5734067"/>
              <a:gd name="connsiteY3" fmla="*/ 6851425 h 6853029"/>
              <a:gd name="connsiteX4" fmla="*/ 0 w 5734067"/>
              <a:gd name="connsiteY4" fmla="*/ 0 h 6853029"/>
              <a:gd name="connsiteX0" fmla="*/ 0 w 6099827"/>
              <a:gd name="connsiteY0" fmla="*/ 0 h 6853029"/>
              <a:gd name="connsiteX1" fmla="*/ 6099827 w 6099827"/>
              <a:gd name="connsiteY1" fmla="*/ 9626 h 6853029"/>
              <a:gd name="connsiteX2" fmla="*/ 3819913 w 6099827"/>
              <a:gd name="connsiteY2" fmla="*/ 6853029 h 6853029"/>
              <a:gd name="connsiteX3" fmla="*/ 375385 w 6099827"/>
              <a:gd name="connsiteY3" fmla="*/ 6851425 h 6853029"/>
              <a:gd name="connsiteX4" fmla="*/ 0 w 6099827"/>
              <a:gd name="connsiteY4" fmla="*/ 0 h 6853029"/>
              <a:gd name="connsiteX0" fmla="*/ 0 w 6099827"/>
              <a:gd name="connsiteY0" fmla="*/ 0 h 6853029"/>
              <a:gd name="connsiteX1" fmla="*/ 6099827 w 6099827"/>
              <a:gd name="connsiteY1" fmla="*/ 9626 h 6853029"/>
              <a:gd name="connsiteX2" fmla="*/ 3819913 w 6099827"/>
              <a:gd name="connsiteY2" fmla="*/ 6853029 h 6853029"/>
              <a:gd name="connsiteX3" fmla="*/ 9625 w 6099827"/>
              <a:gd name="connsiteY3" fmla="*/ 6841799 h 6853029"/>
              <a:gd name="connsiteX4" fmla="*/ 0 w 6099827"/>
              <a:gd name="connsiteY4" fmla="*/ 0 h 6853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827" h="6853029">
                <a:moveTo>
                  <a:pt x="0" y="0"/>
                </a:moveTo>
                <a:lnTo>
                  <a:pt x="6099827" y="9626"/>
                </a:lnTo>
                <a:lnTo>
                  <a:pt x="3819913" y="6853029"/>
                </a:lnTo>
                <a:lnTo>
                  <a:pt x="9625" y="6841799"/>
                </a:lnTo>
                <a:cubicBezTo>
                  <a:pt x="6417" y="4557991"/>
                  <a:pt x="3208" y="2283808"/>
                  <a:pt x="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9" name="Picture 8">
            <a:extLst>
              <a:ext uri="{FF2B5EF4-FFF2-40B4-BE49-F238E27FC236}">
                <a16:creationId xmlns:a16="http://schemas.microsoft.com/office/drawing/2014/main" id="{8793E735-61BB-4E89-AE53-0D73BFF0209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12" name="Title 1">
            <a:extLst>
              <a:ext uri="{FF2B5EF4-FFF2-40B4-BE49-F238E27FC236}">
                <a16:creationId xmlns:a16="http://schemas.microsoft.com/office/drawing/2014/main" id="{324132B0-42DE-4393-87CC-00E1B0AD21EF}"/>
              </a:ext>
            </a:extLst>
          </p:cNvPr>
          <p:cNvSpPr>
            <a:spLocks noGrp="1"/>
          </p:cNvSpPr>
          <p:nvPr>
            <p:ph type="title"/>
          </p:nvPr>
        </p:nvSpPr>
        <p:spPr>
          <a:xfrm>
            <a:off x="539750" y="399362"/>
            <a:ext cx="4248993" cy="1139825"/>
          </a:xfrm>
        </p:spPr>
        <p:txBody>
          <a:bodyPr/>
          <a:lstStyle>
            <a:lvl1pPr>
              <a:defRPr>
                <a:solidFill>
                  <a:schemeClr val="bg2"/>
                </a:solidFill>
              </a:defRPr>
            </a:lvl1pPr>
          </a:lstStyle>
          <a:p>
            <a:r>
              <a:rPr lang="en-US"/>
              <a:t>Click to edit Master title style</a:t>
            </a:r>
            <a:endParaRPr lang="sv-SE"/>
          </a:p>
        </p:txBody>
      </p:sp>
      <p:sp>
        <p:nvSpPr>
          <p:cNvPr id="13" name="Text Placeholder 6">
            <a:extLst>
              <a:ext uri="{FF2B5EF4-FFF2-40B4-BE49-F238E27FC236}">
                <a16:creationId xmlns:a16="http://schemas.microsoft.com/office/drawing/2014/main" id="{25D070B2-C554-43E5-88F5-599106F7B893}"/>
              </a:ext>
            </a:extLst>
          </p:cNvPr>
          <p:cNvSpPr>
            <a:spLocks noGrp="1"/>
          </p:cNvSpPr>
          <p:nvPr>
            <p:ph type="body" sz="quarter" idx="13"/>
          </p:nvPr>
        </p:nvSpPr>
        <p:spPr>
          <a:xfrm>
            <a:off x="540271" y="1623499"/>
            <a:ext cx="4248472" cy="3096344"/>
          </a:xfrm>
        </p:spPr>
        <p:txBody>
          <a:bodyPr/>
          <a:lstStyle>
            <a:lvl1pPr>
              <a:defRPr>
                <a:solidFill>
                  <a:schemeClr val="bg2"/>
                </a:solidFill>
              </a:defRPr>
            </a:lvl1pPr>
            <a:lvl2pPr marL="174625" indent="-174625">
              <a:defRPr b="0">
                <a:solidFill>
                  <a:schemeClr val="bg2"/>
                </a:solidFill>
              </a:defRPr>
            </a:lvl2pPr>
            <a:lvl3pPr marL="446088" indent="-182563">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laceholder 5">
            <a:extLst>
              <a:ext uri="{FF2B5EF4-FFF2-40B4-BE49-F238E27FC236}">
                <a16:creationId xmlns:a16="http://schemas.microsoft.com/office/drawing/2014/main" id="{5195999A-453B-4589-BDE4-5E44A837CB34}"/>
              </a:ext>
            </a:extLst>
          </p:cNvPr>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rtl="0" fontAlgn="base">
              <a:spcBef>
                <a:spcPct val="0"/>
              </a:spcBef>
              <a:spcAft>
                <a:spcPct val="0"/>
              </a:spcAft>
              <a:defRPr lang="en-GB" sz="1000" kern="1200" smtClean="0">
                <a:solidFill>
                  <a:schemeClr val="bg1"/>
                </a:solidFill>
                <a:latin typeface="Arial" pitchFamily="34" charset="0"/>
                <a:ea typeface="+mn-ea"/>
                <a:cs typeface="Arial" pitchFamily="34" charset="0"/>
              </a:defRPr>
            </a:lvl1pPr>
          </a:lstStyle>
          <a:p>
            <a:fld id="{C864BB8D-94B4-466C-94BF-D114C83BF951}" type="slidenum">
              <a:rPr lang="sv-SE" smtClean="0"/>
              <a:pPr/>
              <a:t>‹#›</a:t>
            </a:fld>
            <a:endParaRPr lang="sv-SE"/>
          </a:p>
        </p:txBody>
      </p:sp>
      <p:sp>
        <p:nvSpPr>
          <p:cNvPr id="15" name="Footer Placeholder 3">
            <a:extLst>
              <a:ext uri="{FF2B5EF4-FFF2-40B4-BE49-F238E27FC236}">
                <a16:creationId xmlns:a16="http://schemas.microsoft.com/office/drawing/2014/main" id="{E80D1143-1255-4380-B644-73BF4291E6EB}"/>
              </a:ext>
            </a:extLst>
          </p:cNvPr>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249640406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ransparent Blue fifth element with picture background">
    <p:spTree>
      <p:nvGrpSpPr>
        <p:cNvPr id="1" name=""/>
        <p:cNvGrpSpPr/>
        <p:nvPr/>
      </p:nvGrpSpPr>
      <p:grpSpPr>
        <a:xfrm>
          <a:off x="0" y="0"/>
          <a:ext cx="0" cy="0"/>
          <a:chOff x="0" y="0"/>
          <a:chExt cx="0" cy="0"/>
        </a:xfrm>
      </p:grpSpPr>
      <p:sp>
        <p:nvSpPr>
          <p:cNvPr id="16" name="Rectangle 6">
            <a:extLst>
              <a:ext uri="{FF2B5EF4-FFF2-40B4-BE49-F238E27FC236}">
                <a16:creationId xmlns:a16="http://schemas.microsoft.com/office/drawing/2014/main" id="{FB06032D-A0B6-4EC8-9968-DE2A9EC1DAEF}"/>
              </a:ext>
            </a:extLst>
          </p:cNvPr>
          <p:cNvSpPr/>
          <p:nvPr userDrawn="1"/>
        </p:nvSpPr>
        <p:spPr>
          <a:xfrm>
            <a:off x="-14939" y="-9627"/>
            <a:ext cx="6099827" cy="6853029"/>
          </a:xfrm>
          <a:custGeom>
            <a:avLst/>
            <a:gdLst>
              <a:gd name="connsiteX0" fmla="*/ 0 w 5580063"/>
              <a:gd name="connsiteY0" fmla="*/ 0 h 6851424"/>
              <a:gd name="connsiteX1" fmla="*/ 5580063 w 5580063"/>
              <a:gd name="connsiteY1" fmla="*/ 0 h 6851424"/>
              <a:gd name="connsiteX2" fmla="*/ 5580063 w 5580063"/>
              <a:gd name="connsiteY2" fmla="*/ 6851424 h 6851424"/>
              <a:gd name="connsiteX3" fmla="*/ 0 w 5580063"/>
              <a:gd name="connsiteY3" fmla="*/ 6851424 h 6851424"/>
              <a:gd name="connsiteX4" fmla="*/ 0 w 5580063"/>
              <a:gd name="connsiteY4" fmla="*/ 0 h 6851424"/>
              <a:gd name="connsiteX0" fmla="*/ 0 w 5580063"/>
              <a:gd name="connsiteY0" fmla="*/ 0 h 6861934"/>
              <a:gd name="connsiteX1" fmla="*/ 5580063 w 5580063"/>
              <a:gd name="connsiteY1" fmla="*/ 0 h 6861934"/>
              <a:gd name="connsiteX2" fmla="*/ 3898408 w 5580063"/>
              <a:gd name="connsiteY2" fmla="*/ 6861934 h 6861934"/>
              <a:gd name="connsiteX3" fmla="*/ 0 w 5580063"/>
              <a:gd name="connsiteY3" fmla="*/ 6851424 h 6861934"/>
              <a:gd name="connsiteX4" fmla="*/ 0 w 5580063"/>
              <a:gd name="connsiteY4" fmla="*/ 0 h 6861934"/>
              <a:gd name="connsiteX0" fmla="*/ 0 w 5580063"/>
              <a:gd name="connsiteY0" fmla="*/ 0 h 6851424"/>
              <a:gd name="connsiteX1" fmla="*/ 5580063 w 5580063"/>
              <a:gd name="connsiteY1" fmla="*/ 0 h 6851424"/>
              <a:gd name="connsiteX2" fmla="*/ 3057580 w 5580063"/>
              <a:gd name="connsiteY2" fmla="*/ 6851424 h 6851424"/>
              <a:gd name="connsiteX3" fmla="*/ 0 w 5580063"/>
              <a:gd name="connsiteY3" fmla="*/ 6851424 h 6851424"/>
              <a:gd name="connsiteX4" fmla="*/ 0 w 5580063"/>
              <a:gd name="connsiteY4" fmla="*/ 0 h 6851424"/>
              <a:gd name="connsiteX0" fmla="*/ 0 w 5580063"/>
              <a:gd name="connsiteY0" fmla="*/ 0 h 6851424"/>
              <a:gd name="connsiteX1" fmla="*/ 5580063 w 5580063"/>
              <a:gd name="connsiteY1" fmla="*/ 0 h 6851424"/>
              <a:gd name="connsiteX2" fmla="*/ 3404422 w 5580063"/>
              <a:gd name="connsiteY2" fmla="*/ 6851424 h 6851424"/>
              <a:gd name="connsiteX3" fmla="*/ 0 w 5580063"/>
              <a:gd name="connsiteY3" fmla="*/ 6851424 h 6851424"/>
              <a:gd name="connsiteX4" fmla="*/ 0 w 5580063"/>
              <a:gd name="connsiteY4" fmla="*/ 0 h 6851424"/>
              <a:gd name="connsiteX0" fmla="*/ 0 w 5580063"/>
              <a:gd name="connsiteY0" fmla="*/ 0 h 6851424"/>
              <a:gd name="connsiteX1" fmla="*/ 5580063 w 5580063"/>
              <a:gd name="connsiteY1" fmla="*/ 0 h 6851424"/>
              <a:gd name="connsiteX2" fmla="*/ 3300149 w 5580063"/>
              <a:gd name="connsiteY2" fmla="*/ 6835382 h 6851424"/>
              <a:gd name="connsiteX3" fmla="*/ 0 w 5580063"/>
              <a:gd name="connsiteY3" fmla="*/ 6851424 h 6851424"/>
              <a:gd name="connsiteX4" fmla="*/ 0 w 5580063"/>
              <a:gd name="connsiteY4" fmla="*/ 0 h 6851424"/>
              <a:gd name="connsiteX0" fmla="*/ 0 w 5580063"/>
              <a:gd name="connsiteY0" fmla="*/ 0 h 6851424"/>
              <a:gd name="connsiteX1" fmla="*/ 5580063 w 5580063"/>
              <a:gd name="connsiteY1" fmla="*/ 0 h 6851424"/>
              <a:gd name="connsiteX2" fmla="*/ 3300149 w 5580063"/>
              <a:gd name="connsiteY2" fmla="*/ 6843403 h 6851424"/>
              <a:gd name="connsiteX3" fmla="*/ 0 w 5580063"/>
              <a:gd name="connsiteY3" fmla="*/ 6851424 h 6851424"/>
              <a:gd name="connsiteX4" fmla="*/ 0 w 5580063"/>
              <a:gd name="connsiteY4" fmla="*/ 0 h 6851424"/>
              <a:gd name="connsiteX0" fmla="*/ 0 w 5580063"/>
              <a:gd name="connsiteY0" fmla="*/ 0 h 7108098"/>
              <a:gd name="connsiteX1" fmla="*/ 5580063 w 5580063"/>
              <a:gd name="connsiteY1" fmla="*/ 0 h 7108098"/>
              <a:gd name="connsiteX2" fmla="*/ 2714612 w 5580063"/>
              <a:gd name="connsiteY2" fmla="*/ 7108098 h 7108098"/>
              <a:gd name="connsiteX3" fmla="*/ 0 w 5580063"/>
              <a:gd name="connsiteY3" fmla="*/ 6851424 h 7108098"/>
              <a:gd name="connsiteX4" fmla="*/ 0 w 5580063"/>
              <a:gd name="connsiteY4" fmla="*/ 0 h 7108098"/>
              <a:gd name="connsiteX0" fmla="*/ 0 w 5580063"/>
              <a:gd name="connsiteY0" fmla="*/ 0 h 6851424"/>
              <a:gd name="connsiteX1" fmla="*/ 5580063 w 5580063"/>
              <a:gd name="connsiteY1" fmla="*/ 0 h 6851424"/>
              <a:gd name="connsiteX2" fmla="*/ 3300149 w 5580063"/>
              <a:gd name="connsiteY2" fmla="*/ 6843403 h 6851424"/>
              <a:gd name="connsiteX3" fmla="*/ 0 w 5580063"/>
              <a:gd name="connsiteY3" fmla="*/ 6851424 h 6851424"/>
              <a:gd name="connsiteX4" fmla="*/ 0 w 5580063"/>
              <a:gd name="connsiteY4" fmla="*/ 0 h 6851424"/>
              <a:gd name="connsiteX0" fmla="*/ 0 w 5734067"/>
              <a:gd name="connsiteY0" fmla="*/ 0 h 6861050"/>
              <a:gd name="connsiteX1" fmla="*/ 5734067 w 5734067"/>
              <a:gd name="connsiteY1" fmla="*/ 9626 h 6861050"/>
              <a:gd name="connsiteX2" fmla="*/ 3454153 w 5734067"/>
              <a:gd name="connsiteY2" fmla="*/ 6853029 h 6861050"/>
              <a:gd name="connsiteX3" fmla="*/ 154004 w 5734067"/>
              <a:gd name="connsiteY3" fmla="*/ 6861050 h 6861050"/>
              <a:gd name="connsiteX4" fmla="*/ 0 w 5734067"/>
              <a:gd name="connsiteY4" fmla="*/ 0 h 6861050"/>
              <a:gd name="connsiteX0" fmla="*/ 0 w 5734067"/>
              <a:gd name="connsiteY0" fmla="*/ 0 h 6861050"/>
              <a:gd name="connsiteX1" fmla="*/ 5734067 w 5734067"/>
              <a:gd name="connsiteY1" fmla="*/ 9626 h 6861050"/>
              <a:gd name="connsiteX2" fmla="*/ 3454153 w 5734067"/>
              <a:gd name="connsiteY2" fmla="*/ 6853029 h 6861050"/>
              <a:gd name="connsiteX3" fmla="*/ 0 w 5734067"/>
              <a:gd name="connsiteY3" fmla="*/ 6861050 h 6861050"/>
              <a:gd name="connsiteX4" fmla="*/ 0 w 5734067"/>
              <a:gd name="connsiteY4" fmla="*/ 0 h 6861050"/>
              <a:gd name="connsiteX0" fmla="*/ 0 w 5734067"/>
              <a:gd name="connsiteY0" fmla="*/ 0 h 6853029"/>
              <a:gd name="connsiteX1" fmla="*/ 5734067 w 5734067"/>
              <a:gd name="connsiteY1" fmla="*/ 9626 h 6853029"/>
              <a:gd name="connsiteX2" fmla="*/ 3454153 w 5734067"/>
              <a:gd name="connsiteY2" fmla="*/ 6853029 h 6853029"/>
              <a:gd name="connsiteX3" fmla="*/ 298383 w 5734067"/>
              <a:gd name="connsiteY3" fmla="*/ 6466414 h 6853029"/>
              <a:gd name="connsiteX4" fmla="*/ 0 w 5734067"/>
              <a:gd name="connsiteY4" fmla="*/ 0 h 6853029"/>
              <a:gd name="connsiteX0" fmla="*/ 0 w 5734067"/>
              <a:gd name="connsiteY0" fmla="*/ 0 h 6853029"/>
              <a:gd name="connsiteX1" fmla="*/ 5734067 w 5734067"/>
              <a:gd name="connsiteY1" fmla="*/ 9626 h 6853029"/>
              <a:gd name="connsiteX2" fmla="*/ 3454153 w 5734067"/>
              <a:gd name="connsiteY2" fmla="*/ 6853029 h 6853029"/>
              <a:gd name="connsiteX3" fmla="*/ 9625 w 5734067"/>
              <a:gd name="connsiteY3" fmla="*/ 6851425 h 6853029"/>
              <a:gd name="connsiteX4" fmla="*/ 0 w 5734067"/>
              <a:gd name="connsiteY4" fmla="*/ 0 h 6853029"/>
              <a:gd name="connsiteX0" fmla="*/ 0 w 6099827"/>
              <a:gd name="connsiteY0" fmla="*/ 0 h 6853029"/>
              <a:gd name="connsiteX1" fmla="*/ 6099827 w 6099827"/>
              <a:gd name="connsiteY1" fmla="*/ 9626 h 6853029"/>
              <a:gd name="connsiteX2" fmla="*/ 3819913 w 6099827"/>
              <a:gd name="connsiteY2" fmla="*/ 6853029 h 6853029"/>
              <a:gd name="connsiteX3" fmla="*/ 375385 w 6099827"/>
              <a:gd name="connsiteY3" fmla="*/ 6851425 h 6853029"/>
              <a:gd name="connsiteX4" fmla="*/ 0 w 6099827"/>
              <a:gd name="connsiteY4" fmla="*/ 0 h 6853029"/>
              <a:gd name="connsiteX0" fmla="*/ 0 w 6099827"/>
              <a:gd name="connsiteY0" fmla="*/ 0 h 6853029"/>
              <a:gd name="connsiteX1" fmla="*/ 6099827 w 6099827"/>
              <a:gd name="connsiteY1" fmla="*/ 9626 h 6853029"/>
              <a:gd name="connsiteX2" fmla="*/ 3819913 w 6099827"/>
              <a:gd name="connsiteY2" fmla="*/ 6853029 h 6853029"/>
              <a:gd name="connsiteX3" fmla="*/ 9625 w 6099827"/>
              <a:gd name="connsiteY3" fmla="*/ 6841799 h 6853029"/>
              <a:gd name="connsiteX4" fmla="*/ 0 w 6099827"/>
              <a:gd name="connsiteY4" fmla="*/ 0 h 6853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827" h="6853029">
                <a:moveTo>
                  <a:pt x="0" y="0"/>
                </a:moveTo>
                <a:lnTo>
                  <a:pt x="6099827" y="9626"/>
                </a:lnTo>
                <a:lnTo>
                  <a:pt x="3819913" y="6853029"/>
                </a:lnTo>
                <a:lnTo>
                  <a:pt x="9625" y="6841799"/>
                </a:lnTo>
                <a:cubicBezTo>
                  <a:pt x="6417" y="4557991"/>
                  <a:pt x="3208" y="2283808"/>
                  <a:pt x="0" y="0"/>
                </a:cubicBezTo>
                <a:close/>
              </a:path>
            </a:pathLst>
          </a:cu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Title 1">
            <a:extLst>
              <a:ext uri="{FF2B5EF4-FFF2-40B4-BE49-F238E27FC236}">
                <a16:creationId xmlns:a16="http://schemas.microsoft.com/office/drawing/2014/main" id="{4293B211-4F44-43C2-85CD-47FB1192E34A}"/>
              </a:ext>
            </a:extLst>
          </p:cNvPr>
          <p:cNvSpPr>
            <a:spLocks noGrp="1"/>
          </p:cNvSpPr>
          <p:nvPr>
            <p:ph type="title" hasCustomPrompt="1"/>
          </p:nvPr>
        </p:nvSpPr>
        <p:spPr>
          <a:xfrm>
            <a:off x="539750" y="399362"/>
            <a:ext cx="4685036" cy="1139825"/>
          </a:xfrm>
        </p:spPr>
        <p:txBody>
          <a:bodyPr/>
          <a:lstStyle>
            <a:lvl1pPr>
              <a:defRPr b="0">
                <a:solidFill>
                  <a:schemeClr val="bg2"/>
                </a:solidFill>
              </a:defRPr>
            </a:lvl1pPr>
          </a:lstStyle>
          <a:p>
            <a:r>
              <a:rPr lang="en-US"/>
              <a:t>Transparence for full picture background</a:t>
            </a:r>
            <a:endParaRPr lang="sv-SE"/>
          </a:p>
        </p:txBody>
      </p:sp>
      <p:sp>
        <p:nvSpPr>
          <p:cNvPr id="18" name="Text Placeholder 6">
            <a:extLst>
              <a:ext uri="{FF2B5EF4-FFF2-40B4-BE49-F238E27FC236}">
                <a16:creationId xmlns:a16="http://schemas.microsoft.com/office/drawing/2014/main" id="{322C7983-B6E2-4875-92FC-21607D76CEA7}"/>
              </a:ext>
            </a:extLst>
          </p:cNvPr>
          <p:cNvSpPr>
            <a:spLocks noGrp="1"/>
          </p:cNvSpPr>
          <p:nvPr>
            <p:ph type="body" sz="quarter" idx="13"/>
          </p:nvPr>
        </p:nvSpPr>
        <p:spPr>
          <a:xfrm>
            <a:off x="540271" y="1623499"/>
            <a:ext cx="4248472" cy="3096344"/>
          </a:xfrm>
        </p:spPr>
        <p:txBody>
          <a:bodyPr/>
          <a:lstStyle>
            <a:lvl1pPr>
              <a:defRPr>
                <a:solidFill>
                  <a:schemeClr val="bg2"/>
                </a:solidFill>
              </a:defRPr>
            </a:lvl1pPr>
            <a:lvl2pPr marL="174625" indent="-174625">
              <a:defRPr b="0">
                <a:solidFill>
                  <a:schemeClr val="bg2"/>
                </a:solidFill>
              </a:defRPr>
            </a:lvl2pPr>
            <a:lvl3pPr marL="446088" indent="-182563">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8793E735-61BB-4E89-AE53-0D73BFF0209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14" name="Slide Number Placeholder 5">
            <a:extLst>
              <a:ext uri="{FF2B5EF4-FFF2-40B4-BE49-F238E27FC236}">
                <a16:creationId xmlns:a16="http://schemas.microsoft.com/office/drawing/2014/main" id="{5195999A-453B-4589-BDE4-5E44A837CB34}"/>
              </a:ext>
            </a:extLst>
          </p:cNvPr>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rtl="0" fontAlgn="base">
              <a:spcBef>
                <a:spcPct val="0"/>
              </a:spcBef>
              <a:spcAft>
                <a:spcPct val="0"/>
              </a:spcAft>
              <a:defRPr lang="en-GB" sz="1000" kern="1200" smtClean="0">
                <a:solidFill>
                  <a:schemeClr val="bg1"/>
                </a:solidFill>
                <a:latin typeface="Arial" pitchFamily="34" charset="0"/>
                <a:ea typeface="+mn-ea"/>
                <a:cs typeface="Arial" pitchFamily="34" charset="0"/>
              </a:defRPr>
            </a:lvl1pPr>
          </a:lstStyle>
          <a:p>
            <a:fld id="{C864BB8D-94B4-466C-94BF-D114C83BF951}" type="slidenum">
              <a:rPr lang="sv-SE" smtClean="0"/>
              <a:pPr/>
              <a:t>‹#›</a:t>
            </a:fld>
            <a:endParaRPr lang="sv-SE"/>
          </a:p>
        </p:txBody>
      </p:sp>
      <p:sp>
        <p:nvSpPr>
          <p:cNvPr id="15" name="Footer Placeholder 3">
            <a:extLst>
              <a:ext uri="{FF2B5EF4-FFF2-40B4-BE49-F238E27FC236}">
                <a16:creationId xmlns:a16="http://schemas.microsoft.com/office/drawing/2014/main" id="{E80D1143-1255-4380-B644-73BF4291E6EB}"/>
              </a:ext>
            </a:extLst>
          </p:cNvPr>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272527048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ramed picture + coloured slide">
    <p:bg>
      <p:bgPr>
        <a:solidFill>
          <a:schemeClr val="tx2"/>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1"/>
          </p:nvPr>
        </p:nvSpPr>
        <p:spPr>
          <a:xfrm>
            <a:off x="0" y="0"/>
            <a:ext cx="5580063" cy="6843403"/>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 name="connsiteX0" fmla="*/ 0 w 5580063"/>
              <a:gd name="connsiteY0" fmla="*/ 0 h 6840538"/>
              <a:gd name="connsiteX1" fmla="*/ 5580063 w 5580063"/>
              <a:gd name="connsiteY1" fmla="*/ 0 h 6840538"/>
              <a:gd name="connsiteX2" fmla="*/ 3146247 w 5580063"/>
              <a:gd name="connsiteY2" fmla="*/ 5704413 h 6840538"/>
              <a:gd name="connsiteX3" fmla="*/ 0 w 5580063"/>
              <a:gd name="connsiteY3" fmla="*/ 6840538 h 6840538"/>
              <a:gd name="connsiteX4" fmla="*/ 0 w 5580063"/>
              <a:gd name="connsiteY4" fmla="*/ 0 h 6840538"/>
              <a:gd name="connsiteX0" fmla="*/ 0 w 5580063"/>
              <a:gd name="connsiteY0" fmla="*/ 0 h 6222917"/>
              <a:gd name="connsiteX1" fmla="*/ 5580063 w 5580063"/>
              <a:gd name="connsiteY1" fmla="*/ 0 h 6222917"/>
              <a:gd name="connsiteX2" fmla="*/ 3146247 w 5580063"/>
              <a:gd name="connsiteY2" fmla="*/ 5704413 h 6222917"/>
              <a:gd name="connsiteX3" fmla="*/ 272716 w 5580063"/>
              <a:gd name="connsiteY3" fmla="*/ 6222917 h 6222917"/>
              <a:gd name="connsiteX4" fmla="*/ 0 w 5580063"/>
              <a:gd name="connsiteY4" fmla="*/ 0 h 6222917"/>
              <a:gd name="connsiteX0" fmla="*/ 0 w 5580063"/>
              <a:gd name="connsiteY0" fmla="*/ 0 h 6840538"/>
              <a:gd name="connsiteX1" fmla="*/ 5580063 w 5580063"/>
              <a:gd name="connsiteY1" fmla="*/ 0 h 6840538"/>
              <a:gd name="connsiteX2" fmla="*/ 3146247 w 5580063"/>
              <a:gd name="connsiteY2" fmla="*/ 5704413 h 6840538"/>
              <a:gd name="connsiteX3" fmla="*/ 0 w 5580063"/>
              <a:gd name="connsiteY3" fmla="*/ 6840538 h 6840538"/>
              <a:gd name="connsiteX4" fmla="*/ 0 w 5580063"/>
              <a:gd name="connsiteY4" fmla="*/ 0 h 6840538"/>
              <a:gd name="connsiteX0" fmla="*/ 0 w 5580063"/>
              <a:gd name="connsiteY0" fmla="*/ 0 h 6843403"/>
              <a:gd name="connsiteX1" fmla="*/ 5580063 w 5580063"/>
              <a:gd name="connsiteY1" fmla="*/ 0 h 6843403"/>
              <a:gd name="connsiteX2" fmla="*/ 3290625 w 5580063"/>
              <a:gd name="connsiteY2" fmla="*/ 6843403 h 6843403"/>
              <a:gd name="connsiteX3" fmla="*/ 0 w 5580063"/>
              <a:gd name="connsiteY3" fmla="*/ 6840538 h 6843403"/>
              <a:gd name="connsiteX4" fmla="*/ 0 w 5580063"/>
              <a:gd name="connsiteY4" fmla="*/ 0 h 6843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43403">
                <a:moveTo>
                  <a:pt x="0" y="0"/>
                </a:moveTo>
                <a:lnTo>
                  <a:pt x="5580063" y="0"/>
                </a:lnTo>
                <a:lnTo>
                  <a:pt x="3290625" y="6843403"/>
                </a:lnTo>
                <a:lnTo>
                  <a:pt x="0" y="6840538"/>
                </a:lnTo>
                <a:lnTo>
                  <a:pt x="0" y="0"/>
                </a:lnTo>
                <a:close/>
              </a:path>
            </a:pathLst>
          </a:custGeom>
        </p:spPr>
        <p:txBody>
          <a:bodyPr/>
          <a:lstStyle>
            <a:lvl1pPr>
              <a:defRPr>
                <a:solidFill>
                  <a:schemeClr val="bg1"/>
                </a:solidFill>
              </a:defRPr>
            </a:lvl1pPr>
          </a:lstStyle>
          <a:p>
            <a:endParaRPr lang="en-GB"/>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
        <p:nvSpPr>
          <p:cNvPr id="10" name="Title 1">
            <a:extLst>
              <a:ext uri="{FF2B5EF4-FFF2-40B4-BE49-F238E27FC236}">
                <a16:creationId xmlns:a16="http://schemas.microsoft.com/office/drawing/2014/main" id="{6C13A741-605A-4BC1-B12F-6B4884693E96}"/>
              </a:ext>
            </a:extLst>
          </p:cNvPr>
          <p:cNvSpPr>
            <a:spLocks noGrp="1"/>
          </p:cNvSpPr>
          <p:nvPr>
            <p:ph type="title"/>
          </p:nvPr>
        </p:nvSpPr>
        <p:spPr>
          <a:xfrm>
            <a:off x="5795068" y="398125"/>
            <a:ext cx="5832362" cy="1139825"/>
          </a:xfrm>
        </p:spPr>
        <p:txBody>
          <a:bodyPr/>
          <a:lstStyle>
            <a:lvl1pPr>
              <a:defRPr>
                <a:solidFill>
                  <a:schemeClr val="bg2"/>
                </a:solidFill>
              </a:defRPr>
            </a:lvl1pPr>
          </a:lstStyle>
          <a:p>
            <a:r>
              <a:rPr lang="en-US"/>
              <a:t>Click to edit Master title style</a:t>
            </a:r>
            <a:endParaRPr lang="sv-SE"/>
          </a:p>
        </p:txBody>
      </p:sp>
      <p:sp>
        <p:nvSpPr>
          <p:cNvPr id="11" name="Text Placeholder 6">
            <a:extLst>
              <a:ext uri="{FF2B5EF4-FFF2-40B4-BE49-F238E27FC236}">
                <a16:creationId xmlns:a16="http://schemas.microsoft.com/office/drawing/2014/main" id="{37B0033A-ADF4-48AE-89CB-79A6BEA12A9E}"/>
              </a:ext>
            </a:extLst>
          </p:cNvPr>
          <p:cNvSpPr>
            <a:spLocks noGrp="1"/>
          </p:cNvSpPr>
          <p:nvPr>
            <p:ph type="body" sz="quarter" idx="13"/>
          </p:nvPr>
        </p:nvSpPr>
        <p:spPr>
          <a:xfrm>
            <a:off x="5796855" y="1622262"/>
            <a:ext cx="5833170" cy="3096344"/>
          </a:xfrm>
        </p:spPr>
        <p:txBody>
          <a:bodyPr/>
          <a:lstStyle>
            <a:lvl1pPr>
              <a:defRPr>
                <a:solidFill>
                  <a:schemeClr val="bg2"/>
                </a:solidFill>
              </a:defRPr>
            </a:lvl1pPr>
            <a:lvl2pPr marL="174625" indent="-174625">
              <a:defRPr b="0">
                <a:solidFill>
                  <a:schemeClr val="bg2"/>
                </a:solidFill>
              </a:defRPr>
            </a:lvl2pPr>
            <a:lvl3pPr marL="446088" indent="-182563">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a:extLst>
              <a:ext uri="{FF2B5EF4-FFF2-40B4-BE49-F238E27FC236}">
                <a16:creationId xmlns:a16="http://schemas.microsoft.com/office/drawing/2014/main" id="{433DB39A-143B-4E21-B66E-C747B1944757}"/>
              </a:ext>
            </a:extLst>
          </p:cNvPr>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rtl="0" fontAlgn="base">
              <a:spcBef>
                <a:spcPct val="0"/>
              </a:spcBef>
              <a:spcAft>
                <a:spcPct val="0"/>
              </a:spcAft>
              <a:defRPr lang="en-GB" sz="1000" kern="1200" smtClean="0">
                <a:solidFill>
                  <a:schemeClr val="bg1"/>
                </a:solidFill>
                <a:latin typeface="Arial" pitchFamily="34" charset="0"/>
                <a:ea typeface="+mn-ea"/>
                <a:cs typeface="Arial" pitchFamily="34" charset="0"/>
              </a:defRPr>
            </a:lvl1pPr>
          </a:lstStyle>
          <a:p>
            <a:fld id="{C864BB8D-94B4-466C-94BF-D114C83BF951}" type="slidenum">
              <a:rPr lang="sv-SE" smtClean="0"/>
              <a:pPr/>
              <a:t>‹#›</a:t>
            </a:fld>
            <a:endParaRPr lang="sv-SE"/>
          </a:p>
        </p:txBody>
      </p:sp>
      <p:sp>
        <p:nvSpPr>
          <p:cNvPr id="13" name="Footer Placeholder 3">
            <a:extLst>
              <a:ext uri="{FF2B5EF4-FFF2-40B4-BE49-F238E27FC236}">
                <a16:creationId xmlns:a16="http://schemas.microsoft.com/office/drawing/2014/main" id="{904E8A03-9A22-485E-9E85-B8CB75F063B3}"/>
              </a:ext>
            </a:extLst>
          </p:cNvPr>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217875474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loured 5th element and background picture">
    <p:bg>
      <p:bgPr>
        <a:solidFill>
          <a:schemeClr val="tx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
        <p:nvSpPr>
          <p:cNvPr id="8"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
        <p:nvSpPr>
          <p:cNvPr id="14" name="Title 1">
            <a:extLst>
              <a:ext uri="{FF2B5EF4-FFF2-40B4-BE49-F238E27FC236}">
                <a16:creationId xmlns:a16="http://schemas.microsoft.com/office/drawing/2014/main" id="{F9D28480-8A73-4A7B-BE33-1AA00B1CB4C4}"/>
              </a:ext>
            </a:extLst>
          </p:cNvPr>
          <p:cNvSpPr>
            <a:spLocks noGrp="1"/>
          </p:cNvSpPr>
          <p:nvPr>
            <p:ph type="title"/>
          </p:nvPr>
        </p:nvSpPr>
        <p:spPr>
          <a:xfrm>
            <a:off x="539750" y="408236"/>
            <a:ext cx="11088139" cy="1139825"/>
          </a:xfrm>
        </p:spPr>
        <p:txBody>
          <a:bodyPr/>
          <a:lstStyle>
            <a:lvl1pPr>
              <a:defRPr>
                <a:solidFill>
                  <a:schemeClr val="bg2"/>
                </a:solidFill>
              </a:defRPr>
            </a:lvl1pPr>
          </a:lstStyle>
          <a:p>
            <a:r>
              <a:rPr lang="en-US"/>
              <a:t>Click to edit Master title style</a:t>
            </a:r>
            <a:endParaRPr lang="en-GB"/>
          </a:p>
        </p:txBody>
      </p:sp>
      <p:sp>
        <p:nvSpPr>
          <p:cNvPr id="15" name="Content Placeholder 6">
            <a:extLst>
              <a:ext uri="{FF2B5EF4-FFF2-40B4-BE49-F238E27FC236}">
                <a16:creationId xmlns:a16="http://schemas.microsoft.com/office/drawing/2014/main" id="{30F84E91-07F7-4E80-8B8A-BDB4D1836A38}"/>
              </a:ext>
            </a:extLst>
          </p:cNvPr>
          <p:cNvSpPr>
            <a:spLocks noGrp="1"/>
          </p:cNvSpPr>
          <p:nvPr>
            <p:ph sz="quarter" idx="11"/>
          </p:nvPr>
        </p:nvSpPr>
        <p:spPr>
          <a:xfrm>
            <a:off x="539749" y="1620837"/>
            <a:ext cx="5400000" cy="4031679"/>
          </a:xfrm>
        </p:spPr>
        <p:txBody>
          <a:bodyPr/>
          <a:lstStyle>
            <a:lvl1pPr>
              <a:defRPr>
                <a:solidFill>
                  <a:schemeClr val="bg2"/>
                </a:solidFill>
              </a:defRPr>
            </a:lvl1pPr>
            <a:lvl2pPr>
              <a:defRPr b="0">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8">
            <a:extLst>
              <a:ext uri="{FF2B5EF4-FFF2-40B4-BE49-F238E27FC236}">
                <a16:creationId xmlns:a16="http://schemas.microsoft.com/office/drawing/2014/main" id="{9DEA0AA1-1828-4089-9D9F-0A47023BCBC9}"/>
              </a:ext>
            </a:extLst>
          </p:cNvPr>
          <p:cNvSpPr>
            <a:spLocks noGrp="1"/>
          </p:cNvSpPr>
          <p:nvPr>
            <p:ph sz="quarter" idx="13"/>
          </p:nvPr>
        </p:nvSpPr>
        <p:spPr>
          <a:xfrm>
            <a:off x="6228903" y="1620838"/>
            <a:ext cx="5398986" cy="4031474"/>
          </a:xfrm>
        </p:spPr>
        <p:txBody>
          <a:bodyPr/>
          <a:lstStyle>
            <a:lvl1pPr>
              <a:defRPr>
                <a:solidFill>
                  <a:schemeClr val="bg2"/>
                </a:solidFill>
              </a:defRPr>
            </a:lvl1pPr>
            <a:lvl2pPr>
              <a:defRPr b="0">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243431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hank you  Layou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1992412"/>
            <a:ext cx="11088139" cy="2291953"/>
          </a:xfrm>
        </p:spPr>
        <p:txBody>
          <a:bodyPr anchor="ctr" anchorCtr="1">
            <a:noAutofit/>
          </a:bodyPr>
          <a:lstStyle>
            <a:lvl1pPr algn="ctr">
              <a:defRPr sz="6000" b="0">
                <a:solidFill>
                  <a:schemeClr val="bg2"/>
                </a:solidFill>
              </a:defRPr>
            </a:lvl1pPr>
          </a:lstStyle>
          <a:p>
            <a:r>
              <a:rPr lang="en-US"/>
              <a:t>Thank you!</a:t>
            </a:r>
            <a:endParaRPr lang="en-GB"/>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pic>
        <p:nvPicPr>
          <p:cNvPr id="4" name="Picture 3">
            <a:extLst>
              <a:ext uri="{FF2B5EF4-FFF2-40B4-BE49-F238E27FC236}">
                <a16:creationId xmlns:a16="http://schemas.microsoft.com/office/drawing/2014/main" id="{87CC4B59-4AB1-4B5D-A44B-937E104B0F0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73432" y="5518857"/>
            <a:ext cx="6446533" cy="557785"/>
          </a:xfrm>
          <a:prstGeom prst="rect">
            <a:avLst/>
          </a:prstGeom>
        </p:spPr>
      </p:pic>
    </p:spTree>
    <p:extLst>
      <p:ext uri="{BB962C8B-B14F-4D97-AF65-F5344CB8AC3E}">
        <p14:creationId xmlns:p14="http://schemas.microsoft.com/office/powerpoint/2010/main" val="35823460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Chapter page">
    <p:bg>
      <p:bgPr>
        <a:solidFill>
          <a:schemeClr val="tx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4488D4-CD72-4342-818C-A7B16A1ED3CC}"/>
              </a:ext>
            </a:extLst>
          </p:cNvPr>
          <p:cNvGrpSpPr/>
          <p:nvPr userDrawn="1"/>
        </p:nvGrpSpPr>
        <p:grpSpPr>
          <a:xfrm>
            <a:off x="1150205" y="1940353"/>
            <a:ext cx="9869364" cy="2570196"/>
            <a:chOff x="1150205" y="1940353"/>
            <a:chExt cx="9869364" cy="2570196"/>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850106" y="1940353"/>
              <a:ext cx="2469563" cy="1512169"/>
            </a:xfrm>
            <a:prstGeom prst="rect">
              <a:avLst/>
            </a:prstGeom>
          </p:spPr>
        </p:pic>
        <p:sp>
          <p:nvSpPr>
            <p:cNvPr id="8" name="Title 1">
              <a:extLst>
                <a:ext uri="{FF2B5EF4-FFF2-40B4-BE49-F238E27FC236}">
                  <a16:creationId xmlns:a16="http://schemas.microsoft.com/office/drawing/2014/main" id="{03FCC5F1-E6C4-4992-A8CA-064E596743BA}"/>
                </a:ext>
              </a:extLst>
            </p:cNvPr>
            <p:cNvSpPr txBox="1">
              <a:spLocks/>
            </p:cNvSpPr>
            <p:nvPr userDrawn="1"/>
          </p:nvSpPr>
          <p:spPr>
            <a:xfrm>
              <a:off x="1150205" y="3574445"/>
              <a:ext cx="9869364" cy="936104"/>
            </a:xfrm>
            <a:prstGeom prst="rect">
              <a:avLst/>
            </a:prstGeom>
          </p:spPr>
          <p:txBody>
            <a:bodyPr vert="horz" lIns="91440" tIns="45720" rIns="91440" bIns="45720" rtlCol="0" anchor="t">
              <a:noAutofit/>
            </a:bodyPr>
            <a:lstStyle>
              <a:lvl1pPr algn="ctr" defTabSz="914400" rtl="0" eaLnBrk="1" latinLnBrk="0" hangingPunct="1">
                <a:spcBef>
                  <a:spcPct val="0"/>
                </a:spcBef>
                <a:buNone/>
                <a:defRPr sz="5400" kern="1200" spc="-130" baseline="0">
                  <a:solidFill>
                    <a:schemeClr val="bg2"/>
                  </a:solidFill>
                  <a:latin typeface="Arial" pitchFamily="34" charset="0"/>
                  <a:ea typeface="+mj-ea"/>
                  <a:cs typeface="Arial" pitchFamily="34" charset="0"/>
                </a:defRPr>
              </a:lvl1pPr>
            </a:lstStyle>
            <a:p>
              <a:pPr fontAlgn="auto">
                <a:spcAft>
                  <a:spcPts val="0"/>
                </a:spcAft>
              </a:pPr>
              <a:r>
                <a:rPr lang="en-US" sz="4400">
                  <a:solidFill>
                    <a:schemeClr val="accent2"/>
                  </a:solidFill>
                </a:rPr>
                <a:t>The better </a:t>
              </a:r>
              <a:r>
                <a:rPr lang="en-US" sz="4400"/>
                <a:t>shopping experience</a:t>
              </a:r>
              <a:endParaRPr lang="en-GB" sz="4400"/>
            </a:p>
          </p:txBody>
        </p:sp>
      </p:grpSp>
    </p:spTree>
    <p:extLst>
      <p:ext uri="{BB962C8B-B14F-4D97-AF65-F5344CB8AC3E}">
        <p14:creationId xmlns:p14="http://schemas.microsoft.com/office/powerpoint/2010/main" val="320988343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_Chapter page">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571ECAF-F4EB-4754-ABB7-776B0AAB29B8}"/>
              </a:ext>
            </a:extLst>
          </p:cNvPr>
          <p:cNvGrpSpPr/>
          <p:nvPr userDrawn="1"/>
        </p:nvGrpSpPr>
        <p:grpSpPr>
          <a:xfrm>
            <a:off x="790165" y="1943897"/>
            <a:ext cx="10589444" cy="2628500"/>
            <a:chOff x="790165" y="1943897"/>
            <a:chExt cx="10589444" cy="2628500"/>
          </a:xfrm>
        </p:grpSpPr>
        <p:pic>
          <p:nvPicPr>
            <p:cNvPr id="4" name="Picture 3">
              <a:extLst>
                <a:ext uri="{FF2B5EF4-FFF2-40B4-BE49-F238E27FC236}">
                  <a16:creationId xmlns:a16="http://schemas.microsoft.com/office/drawing/2014/main" id="{4DB854F6-348C-4276-9E6E-C646FC6F5B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35058" y="1943897"/>
              <a:ext cx="2499659" cy="1528060"/>
            </a:xfrm>
            <a:prstGeom prst="rect">
              <a:avLst/>
            </a:prstGeom>
          </p:spPr>
        </p:pic>
        <p:sp>
          <p:nvSpPr>
            <p:cNvPr id="5" name="Title 1">
              <a:extLst>
                <a:ext uri="{FF2B5EF4-FFF2-40B4-BE49-F238E27FC236}">
                  <a16:creationId xmlns:a16="http://schemas.microsoft.com/office/drawing/2014/main" id="{656804A1-34B7-43F1-9302-DB91D0E3C5E5}"/>
                </a:ext>
              </a:extLst>
            </p:cNvPr>
            <p:cNvSpPr txBox="1">
              <a:spLocks/>
            </p:cNvSpPr>
            <p:nvPr userDrawn="1"/>
          </p:nvSpPr>
          <p:spPr>
            <a:xfrm>
              <a:off x="790165" y="3576588"/>
              <a:ext cx="10589444" cy="995809"/>
            </a:xfrm>
            <a:prstGeom prst="rect">
              <a:avLst/>
            </a:prstGeom>
          </p:spPr>
          <p:txBody>
            <a:bodyPr vert="horz" lIns="91440" tIns="45720" rIns="91440" bIns="45720" rtlCol="0" anchor="t">
              <a:noAutofit/>
            </a:bodyPr>
            <a:lstStyle>
              <a:lvl1pPr algn="ctr" defTabSz="914400" rtl="0" eaLnBrk="1" latinLnBrk="0" hangingPunct="1">
                <a:spcBef>
                  <a:spcPct val="0"/>
                </a:spcBef>
                <a:buNone/>
                <a:defRPr sz="5400" kern="1200" spc="-130" baseline="0">
                  <a:solidFill>
                    <a:schemeClr val="bg2"/>
                  </a:solidFill>
                  <a:latin typeface="Arial" pitchFamily="34" charset="0"/>
                  <a:ea typeface="+mj-ea"/>
                  <a:cs typeface="Arial" pitchFamily="34" charset="0"/>
                </a:defRPr>
              </a:lvl1pPr>
            </a:lstStyle>
            <a:p>
              <a:pPr fontAlgn="auto">
                <a:spcAft>
                  <a:spcPts val="0"/>
                </a:spcAft>
              </a:pPr>
              <a:r>
                <a:rPr lang="en-US" sz="4400">
                  <a:solidFill>
                    <a:schemeClr val="accent2"/>
                  </a:solidFill>
                </a:rPr>
                <a:t>The better </a:t>
              </a:r>
              <a:r>
                <a:rPr lang="en-US" sz="4400">
                  <a:solidFill>
                    <a:schemeClr val="tx2"/>
                  </a:solidFill>
                </a:rPr>
                <a:t>shopping experience</a:t>
              </a:r>
              <a:endParaRPr lang="en-GB" sz="4400">
                <a:solidFill>
                  <a:schemeClr val="tx2"/>
                </a:solidFill>
              </a:endParaRPr>
            </a:p>
          </p:txBody>
        </p:sp>
      </p:grpSp>
    </p:spTree>
    <p:extLst>
      <p:ext uri="{BB962C8B-B14F-4D97-AF65-F5344CB8AC3E}">
        <p14:creationId xmlns:p14="http://schemas.microsoft.com/office/powerpoint/2010/main" val="429084631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Introduction presentation">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5"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p>
            <a:endParaRPr lang="en-GB"/>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7" name="Text Placeholder 6"/>
          <p:cNvSpPr>
            <a:spLocks noGrp="1"/>
          </p:cNvSpPr>
          <p:nvPr>
            <p:ph type="body" sz="quarter" idx="12"/>
          </p:nvPr>
        </p:nvSpPr>
        <p:spPr>
          <a:xfrm>
            <a:off x="5148783" y="2339355"/>
            <a:ext cx="5822950" cy="2305050"/>
          </a:xfrm>
        </p:spPr>
        <p:txBody>
          <a:bodyPr/>
          <a:lstStyle>
            <a:lvl1pPr>
              <a:defRPr sz="4000">
                <a:solidFill>
                  <a:schemeClr val="tx2"/>
                </a:solidFill>
              </a:defRPr>
            </a:lvl1pPr>
            <a:lvl2pPr>
              <a:defRPr b="0"/>
            </a:lvl2pPr>
          </a:lstStyle>
          <a:p>
            <a:pPr lvl="0"/>
            <a:r>
              <a:rPr lang="en-US"/>
              <a:t>Click to edit Master text styles</a:t>
            </a:r>
          </a:p>
          <a:p>
            <a:pPr lvl="1"/>
            <a:r>
              <a:rPr lang="en-US"/>
              <a:t>Second level</a:t>
            </a:r>
          </a:p>
        </p:txBody>
      </p:sp>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10447734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lose ups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4" name="Picture Placeholder 4"/>
          <p:cNvSpPr>
            <a:spLocks noGrp="1"/>
          </p:cNvSpPr>
          <p:nvPr>
            <p:ph type="pic" sz="quarter" idx="12"/>
          </p:nvPr>
        </p:nvSpPr>
        <p:spPr>
          <a:xfrm>
            <a:off x="5051684" y="1680210"/>
            <a:ext cx="3444632" cy="3180218"/>
          </a:xfrm>
        </p:spPr>
        <p:txBody>
          <a:bodyPr/>
          <a:lstStyle/>
          <a:p>
            <a:endParaRPr lang="fr-FR"/>
          </a:p>
        </p:txBody>
      </p:sp>
      <p:sp>
        <p:nvSpPr>
          <p:cNvPr id="5" name="Picture Placeholder 4"/>
          <p:cNvSpPr>
            <a:spLocks noGrp="1"/>
          </p:cNvSpPr>
          <p:nvPr>
            <p:ph type="pic" sz="quarter" idx="13"/>
          </p:nvPr>
        </p:nvSpPr>
        <p:spPr>
          <a:xfrm>
            <a:off x="8725143" y="1680210"/>
            <a:ext cx="3444632" cy="3180218"/>
          </a:xfrm>
        </p:spPr>
        <p:txBody>
          <a:bodyPr/>
          <a:lstStyle/>
          <a:p>
            <a:endParaRPr lang="fr-FR"/>
          </a:p>
        </p:txBody>
      </p:sp>
      <p:sp>
        <p:nvSpPr>
          <p:cNvPr id="6" name="Text Placeholder 15"/>
          <p:cNvSpPr>
            <a:spLocks noGrp="1"/>
          </p:cNvSpPr>
          <p:nvPr>
            <p:ph type="body" sz="quarter" idx="17"/>
          </p:nvPr>
        </p:nvSpPr>
        <p:spPr>
          <a:xfrm>
            <a:off x="1188343" y="5076230"/>
            <a:ext cx="3634482" cy="360263"/>
          </a:xfrm>
        </p:spPr>
        <p:txBody>
          <a:bodyPr>
            <a:noAutofit/>
          </a:bodyPr>
          <a:lstStyle>
            <a:lvl1pPr>
              <a:defRPr sz="1600"/>
            </a:lvl1pPr>
          </a:lstStyle>
          <a:p>
            <a:pPr lvl="0"/>
            <a:r>
              <a:rPr lang="en-US"/>
              <a:t>Edit Master text styles</a:t>
            </a:r>
          </a:p>
        </p:txBody>
      </p:sp>
      <p:sp>
        <p:nvSpPr>
          <p:cNvPr id="7" name="Text Placeholder 15"/>
          <p:cNvSpPr>
            <a:spLocks noGrp="1"/>
          </p:cNvSpPr>
          <p:nvPr>
            <p:ph type="body" sz="quarter" idx="18"/>
          </p:nvPr>
        </p:nvSpPr>
        <p:spPr>
          <a:xfrm>
            <a:off x="5042822" y="5076230"/>
            <a:ext cx="3444907" cy="360263"/>
          </a:xfrm>
        </p:spPr>
        <p:txBody>
          <a:bodyPr>
            <a:noAutofit/>
          </a:bodyPr>
          <a:lstStyle>
            <a:lvl1pPr>
              <a:defRPr sz="1600"/>
            </a:lvl1pPr>
          </a:lstStyle>
          <a:p>
            <a:pPr lvl="0"/>
            <a:r>
              <a:rPr lang="en-US"/>
              <a:t>Edit Master text styles</a:t>
            </a:r>
          </a:p>
        </p:txBody>
      </p:sp>
      <p:sp>
        <p:nvSpPr>
          <p:cNvPr id="8" name="Text Placeholder 15"/>
          <p:cNvSpPr>
            <a:spLocks noGrp="1"/>
          </p:cNvSpPr>
          <p:nvPr>
            <p:ph type="body" sz="quarter" idx="19"/>
          </p:nvPr>
        </p:nvSpPr>
        <p:spPr>
          <a:xfrm>
            <a:off x="8707694" y="5076230"/>
            <a:ext cx="3444907" cy="360263"/>
          </a:xfrm>
        </p:spPr>
        <p:txBody>
          <a:bodyPr>
            <a:noAutofit/>
          </a:bodyPr>
          <a:lstStyle>
            <a:lvl1pPr>
              <a:defRPr sz="1600"/>
            </a:lvl1pPr>
          </a:lstStyle>
          <a:p>
            <a:pPr lvl="0"/>
            <a:r>
              <a:rPr lang="en-US"/>
              <a:t>Edit Master text styles</a:t>
            </a:r>
          </a:p>
        </p:txBody>
      </p:sp>
      <p:sp>
        <p:nvSpPr>
          <p:cNvPr id="9" name="Picture Placeholder 28"/>
          <p:cNvSpPr>
            <a:spLocks noGrp="1"/>
          </p:cNvSpPr>
          <p:nvPr>
            <p:ph type="pic" sz="quarter" idx="20"/>
          </p:nvPr>
        </p:nvSpPr>
        <p:spPr>
          <a:xfrm>
            <a:off x="1239053" y="1680210"/>
            <a:ext cx="3583772" cy="3161274"/>
          </a:xfrm>
          <a:custGeom>
            <a:avLst/>
            <a:gdLst>
              <a:gd name="connsiteX0" fmla="*/ 0 w 3444875"/>
              <a:gd name="connsiteY0" fmla="*/ 3149699 h 3149699"/>
              <a:gd name="connsiteX1" fmla="*/ 787425 w 3444875"/>
              <a:gd name="connsiteY1" fmla="*/ 0 h 3149699"/>
              <a:gd name="connsiteX2" fmla="*/ 3444875 w 3444875"/>
              <a:gd name="connsiteY2" fmla="*/ 0 h 3149699"/>
              <a:gd name="connsiteX3" fmla="*/ 2657450 w 3444875"/>
              <a:gd name="connsiteY3" fmla="*/ 3149699 h 3149699"/>
              <a:gd name="connsiteX4" fmla="*/ 0 w 3444875"/>
              <a:gd name="connsiteY4" fmla="*/ 3149699 h 3149699"/>
              <a:gd name="connsiteX0" fmla="*/ 0 w 3444875"/>
              <a:gd name="connsiteY0" fmla="*/ 3149699 h 3161274"/>
              <a:gd name="connsiteX1" fmla="*/ 787425 w 3444875"/>
              <a:gd name="connsiteY1" fmla="*/ 0 h 3161274"/>
              <a:gd name="connsiteX2" fmla="*/ 3444875 w 3444875"/>
              <a:gd name="connsiteY2" fmla="*/ 0 h 3161274"/>
              <a:gd name="connsiteX3" fmla="*/ 3375081 w 3444875"/>
              <a:gd name="connsiteY3" fmla="*/ 3161274 h 3161274"/>
              <a:gd name="connsiteX4" fmla="*/ 0 w 3444875"/>
              <a:gd name="connsiteY4" fmla="*/ 3149699 h 3161274"/>
              <a:gd name="connsiteX0" fmla="*/ 0 w 3444875"/>
              <a:gd name="connsiteY0" fmla="*/ 3149699 h 3161274"/>
              <a:gd name="connsiteX1" fmla="*/ 787425 w 3444875"/>
              <a:gd name="connsiteY1" fmla="*/ 0 h 3161274"/>
              <a:gd name="connsiteX2" fmla="*/ 3444875 w 3444875"/>
              <a:gd name="connsiteY2" fmla="*/ 0 h 3161274"/>
              <a:gd name="connsiteX3" fmla="*/ 3432955 w 3444875"/>
              <a:gd name="connsiteY3" fmla="*/ 3161274 h 3161274"/>
              <a:gd name="connsiteX4" fmla="*/ 0 w 3444875"/>
              <a:gd name="connsiteY4" fmla="*/ 3149699 h 3161274"/>
              <a:gd name="connsiteX0" fmla="*/ 0 w 3583772"/>
              <a:gd name="connsiteY0" fmla="*/ 3161274 h 3161274"/>
              <a:gd name="connsiteX1" fmla="*/ 926322 w 3583772"/>
              <a:gd name="connsiteY1" fmla="*/ 0 h 3161274"/>
              <a:gd name="connsiteX2" fmla="*/ 3583772 w 3583772"/>
              <a:gd name="connsiteY2" fmla="*/ 0 h 3161274"/>
              <a:gd name="connsiteX3" fmla="*/ 3571852 w 3583772"/>
              <a:gd name="connsiteY3" fmla="*/ 3161274 h 3161274"/>
              <a:gd name="connsiteX4" fmla="*/ 0 w 3583772"/>
              <a:gd name="connsiteY4" fmla="*/ 3161274 h 3161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3772" h="3161274">
                <a:moveTo>
                  <a:pt x="0" y="3161274"/>
                </a:moveTo>
                <a:lnTo>
                  <a:pt x="926322" y="0"/>
                </a:lnTo>
                <a:lnTo>
                  <a:pt x="3583772" y="0"/>
                </a:lnTo>
                <a:cubicBezTo>
                  <a:pt x="3579799" y="1053758"/>
                  <a:pt x="3575825" y="2107516"/>
                  <a:pt x="3571852" y="3161274"/>
                </a:cubicBezTo>
                <a:lnTo>
                  <a:pt x="0" y="3161274"/>
                </a:lnTo>
                <a:close/>
              </a:path>
            </a:pathLst>
          </a:custGeom>
          <a:noFill/>
        </p:spPr>
        <p:txBody>
          <a:bodyPr/>
          <a:lstStyle/>
          <a:p>
            <a:endParaRPr lang="fr-FR"/>
          </a:p>
        </p:txBody>
      </p:sp>
      <p:sp>
        <p:nvSpPr>
          <p:cNvPr id="11"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7 – All rights reserved</a:t>
            </a:r>
            <a:endParaRPr lang="fr-FR"/>
          </a:p>
        </p:txBody>
      </p:sp>
    </p:spTree>
    <p:extLst>
      <p:ext uri="{BB962C8B-B14F-4D97-AF65-F5344CB8AC3E}">
        <p14:creationId xmlns:p14="http://schemas.microsoft.com/office/powerpoint/2010/main" val="60880967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tandard page">
    <p:spTree>
      <p:nvGrpSpPr>
        <p:cNvPr id="1" name=""/>
        <p:cNvGrpSpPr/>
        <p:nvPr/>
      </p:nvGrpSpPr>
      <p:grpSpPr>
        <a:xfrm>
          <a:off x="0" y="0"/>
          <a:ext cx="0" cy="0"/>
          <a:chOff x="0" y="0"/>
          <a:chExt cx="0" cy="0"/>
        </a:xfrm>
      </p:grpSpPr>
      <p:sp>
        <p:nvSpPr>
          <p:cNvPr id="2" name="Title 1"/>
          <p:cNvSpPr>
            <a:spLocks noGrp="1"/>
          </p:cNvSpPr>
          <p:nvPr>
            <p:ph type="title"/>
          </p:nvPr>
        </p:nvSpPr>
        <p:spPr>
          <a:xfrm>
            <a:off x="972319" y="408236"/>
            <a:ext cx="10297144" cy="1139825"/>
          </a:xfrm>
        </p:spPr>
        <p:txBody>
          <a:bodyPr/>
          <a:lstStyle/>
          <a:p>
            <a:r>
              <a:rPr lang="en-US"/>
              <a:t>Click to edit Master title style</a:t>
            </a:r>
            <a:endParaRPr lang="en-GB"/>
          </a:p>
        </p:txBody>
      </p:sp>
      <p:sp>
        <p:nvSpPr>
          <p:cNvPr id="3" name="Slide Number Placeholder 2"/>
          <p:cNvSpPr>
            <a:spLocks noGrp="1"/>
          </p:cNvSpPr>
          <p:nvPr>
            <p:ph type="sldNum" sz="quarter" idx="10"/>
          </p:nvPr>
        </p:nvSpPr>
        <p:spPr>
          <a:xfrm>
            <a:off x="468263" y="6369099"/>
            <a:ext cx="503287" cy="363538"/>
          </a:xfrm>
        </p:spPr>
        <p:txBody>
          <a:bodyPr/>
          <a:lstStyle/>
          <a:p>
            <a:fld id="{C864BB8D-94B4-466C-94BF-D114C83BF951}" type="slidenum">
              <a:rPr lang="en-GB" smtClean="0"/>
              <a:pPr/>
              <a:t>‹#›</a:t>
            </a:fld>
            <a:endParaRPr lang="en-GB"/>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7" name="Text Placeholder 6"/>
          <p:cNvSpPr>
            <a:spLocks noGrp="1"/>
          </p:cNvSpPr>
          <p:nvPr>
            <p:ph type="body" sz="quarter" idx="11"/>
          </p:nvPr>
        </p:nvSpPr>
        <p:spPr>
          <a:xfrm>
            <a:off x="971550" y="2001600"/>
            <a:ext cx="10297913" cy="3959671"/>
          </a:xfrm>
        </p:spPr>
        <p:txBody>
          <a:bodyPr/>
          <a:lstStyle>
            <a:lvl2pPr marL="174625" indent="-174625">
              <a:defRPr b="0"/>
            </a:lvl2pPr>
            <a:lvl3pPr marL="446088" indent="-182563">
              <a:defRPr/>
            </a:lvl3pPr>
          </a:lstStyle>
          <a:p>
            <a:pPr lvl="0"/>
            <a:r>
              <a:rPr lang="en-US"/>
              <a:t>Click to edit Master text styles</a:t>
            </a:r>
          </a:p>
          <a:p>
            <a:pPr lvl="1"/>
            <a:r>
              <a:rPr lang="en-US"/>
              <a:t>Second level</a:t>
            </a:r>
          </a:p>
          <a:p>
            <a:pPr lvl="2"/>
            <a:r>
              <a:rPr lang="en-US"/>
              <a:t>Third level</a:t>
            </a:r>
          </a:p>
        </p:txBody>
      </p:sp>
      <p:sp>
        <p:nvSpPr>
          <p:cNvPr id="9"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51269501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lose ups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4" name="Picture Placeholder 4"/>
          <p:cNvSpPr>
            <a:spLocks noGrp="1"/>
          </p:cNvSpPr>
          <p:nvPr>
            <p:ph type="pic" sz="quarter" idx="12"/>
          </p:nvPr>
        </p:nvSpPr>
        <p:spPr>
          <a:xfrm>
            <a:off x="5051684" y="1680210"/>
            <a:ext cx="3444632" cy="3180218"/>
          </a:xfrm>
        </p:spPr>
        <p:txBody>
          <a:bodyPr/>
          <a:lstStyle/>
          <a:p>
            <a:endParaRPr lang="fr-FR"/>
          </a:p>
        </p:txBody>
      </p:sp>
      <p:sp>
        <p:nvSpPr>
          <p:cNvPr id="5" name="Picture Placeholder 4"/>
          <p:cNvSpPr>
            <a:spLocks noGrp="1"/>
          </p:cNvSpPr>
          <p:nvPr>
            <p:ph type="pic" sz="quarter" idx="13"/>
          </p:nvPr>
        </p:nvSpPr>
        <p:spPr>
          <a:xfrm>
            <a:off x="8725143" y="1680210"/>
            <a:ext cx="3444632" cy="3180218"/>
          </a:xfrm>
        </p:spPr>
        <p:txBody>
          <a:bodyPr/>
          <a:lstStyle/>
          <a:p>
            <a:endParaRPr lang="fr-FR"/>
          </a:p>
        </p:txBody>
      </p:sp>
      <p:sp>
        <p:nvSpPr>
          <p:cNvPr id="6" name="Text Placeholder 15"/>
          <p:cNvSpPr>
            <a:spLocks noGrp="1"/>
          </p:cNvSpPr>
          <p:nvPr>
            <p:ph type="body" sz="quarter" idx="17"/>
          </p:nvPr>
        </p:nvSpPr>
        <p:spPr>
          <a:xfrm>
            <a:off x="1188343" y="5076230"/>
            <a:ext cx="3634482" cy="360263"/>
          </a:xfrm>
        </p:spPr>
        <p:txBody>
          <a:bodyPr>
            <a:noAutofit/>
          </a:bodyPr>
          <a:lstStyle>
            <a:lvl1pPr>
              <a:defRPr sz="1600"/>
            </a:lvl1pPr>
          </a:lstStyle>
          <a:p>
            <a:pPr lvl="0"/>
            <a:r>
              <a:rPr lang="en-US"/>
              <a:t>Edit Master text styles</a:t>
            </a:r>
          </a:p>
        </p:txBody>
      </p:sp>
      <p:sp>
        <p:nvSpPr>
          <p:cNvPr id="7" name="Text Placeholder 15"/>
          <p:cNvSpPr>
            <a:spLocks noGrp="1"/>
          </p:cNvSpPr>
          <p:nvPr>
            <p:ph type="body" sz="quarter" idx="18"/>
          </p:nvPr>
        </p:nvSpPr>
        <p:spPr>
          <a:xfrm>
            <a:off x="5042822" y="5076230"/>
            <a:ext cx="3444907" cy="360263"/>
          </a:xfrm>
        </p:spPr>
        <p:txBody>
          <a:bodyPr>
            <a:noAutofit/>
          </a:bodyPr>
          <a:lstStyle>
            <a:lvl1pPr>
              <a:defRPr sz="1600"/>
            </a:lvl1pPr>
          </a:lstStyle>
          <a:p>
            <a:pPr lvl="0"/>
            <a:r>
              <a:rPr lang="en-US"/>
              <a:t>Edit Master text styles</a:t>
            </a:r>
          </a:p>
        </p:txBody>
      </p:sp>
      <p:sp>
        <p:nvSpPr>
          <p:cNvPr id="8" name="Text Placeholder 15"/>
          <p:cNvSpPr>
            <a:spLocks noGrp="1"/>
          </p:cNvSpPr>
          <p:nvPr>
            <p:ph type="body" sz="quarter" idx="19"/>
          </p:nvPr>
        </p:nvSpPr>
        <p:spPr>
          <a:xfrm>
            <a:off x="8707694" y="5076230"/>
            <a:ext cx="3444907" cy="360263"/>
          </a:xfrm>
        </p:spPr>
        <p:txBody>
          <a:bodyPr>
            <a:noAutofit/>
          </a:bodyPr>
          <a:lstStyle>
            <a:lvl1pPr>
              <a:defRPr sz="1600"/>
            </a:lvl1pPr>
          </a:lstStyle>
          <a:p>
            <a:pPr lvl="0"/>
            <a:r>
              <a:rPr lang="en-US"/>
              <a:t>Edit Master text styles</a:t>
            </a:r>
          </a:p>
        </p:txBody>
      </p:sp>
      <p:sp>
        <p:nvSpPr>
          <p:cNvPr id="9" name="Picture Placeholder 28"/>
          <p:cNvSpPr>
            <a:spLocks noGrp="1"/>
          </p:cNvSpPr>
          <p:nvPr>
            <p:ph type="pic" sz="quarter" idx="20"/>
          </p:nvPr>
        </p:nvSpPr>
        <p:spPr>
          <a:xfrm>
            <a:off x="1239053" y="1680210"/>
            <a:ext cx="3583772" cy="3161274"/>
          </a:xfrm>
          <a:custGeom>
            <a:avLst/>
            <a:gdLst>
              <a:gd name="connsiteX0" fmla="*/ 0 w 3444875"/>
              <a:gd name="connsiteY0" fmla="*/ 3149699 h 3149699"/>
              <a:gd name="connsiteX1" fmla="*/ 787425 w 3444875"/>
              <a:gd name="connsiteY1" fmla="*/ 0 h 3149699"/>
              <a:gd name="connsiteX2" fmla="*/ 3444875 w 3444875"/>
              <a:gd name="connsiteY2" fmla="*/ 0 h 3149699"/>
              <a:gd name="connsiteX3" fmla="*/ 2657450 w 3444875"/>
              <a:gd name="connsiteY3" fmla="*/ 3149699 h 3149699"/>
              <a:gd name="connsiteX4" fmla="*/ 0 w 3444875"/>
              <a:gd name="connsiteY4" fmla="*/ 3149699 h 3149699"/>
              <a:gd name="connsiteX0" fmla="*/ 0 w 3444875"/>
              <a:gd name="connsiteY0" fmla="*/ 3149699 h 3161274"/>
              <a:gd name="connsiteX1" fmla="*/ 787425 w 3444875"/>
              <a:gd name="connsiteY1" fmla="*/ 0 h 3161274"/>
              <a:gd name="connsiteX2" fmla="*/ 3444875 w 3444875"/>
              <a:gd name="connsiteY2" fmla="*/ 0 h 3161274"/>
              <a:gd name="connsiteX3" fmla="*/ 3375081 w 3444875"/>
              <a:gd name="connsiteY3" fmla="*/ 3161274 h 3161274"/>
              <a:gd name="connsiteX4" fmla="*/ 0 w 3444875"/>
              <a:gd name="connsiteY4" fmla="*/ 3149699 h 3161274"/>
              <a:gd name="connsiteX0" fmla="*/ 0 w 3444875"/>
              <a:gd name="connsiteY0" fmla="*/ 3149699 h 3161274"/>
              <a:gd name="connsiteX1" fmla="*/ 787425 w 3444875"/>
              <a:gd name="connsiteY1" fmla="*/ 0 h 3161274"/>
              <a:gd name="connsiteX2" fmla="*/ 3444875 w 3444875"/>
              <a:gd name="connsiteY2" fmla="*/ 0 h 3161274"/>
              <a:gd name="connsiteX3" fmla="*/ 3432955 w 3444875"/>
              <a:gd name="connsiteY3" fmla="*/ 3161274 h 3161274"/>
              <a:gd name="connsiteX4" fmla="*/ 0 w 3444875"/>
              <a:gd name="connsiteY4" fmla="*/ 3149699 h 3161274"/>
              <a:gd name="connsiteX0" fmla="*/ 0 w 3583772"/>
              <a:gd name="connsiteY0" fmla="*/ 3161274 h 3161274"/>
              <a:gd name="connsiteX1" fmla="*/ 926322 w 3583772"/>
              <a:gd name="connsiteY1" fmla="*/ 0 h 3161274"/>
              <a:gd name="connsiteX2" fmla="*/ 3583772 w 3583772"/>
              <a:gd name="connsiteY2" fmla="*/ 0 h 3161274"/>
              <a:gd name="connsiteX3" fmla="*/ 3571852 w 3583772"/>
              <a:gd name="connsiteY3" fmla="*/ 3161274 h 3161274"/>
              <a:gd name="connsiteX4" fmla="*/ 0 w 3583772"/>
              <a:gd name="connsiteY4" fmla="*/ 3161274 h 3161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3772" h="3161274">
                <a:moveTo>
                  <a:pt x="0" y="3161274"/>
                </a:moveTo>
                <a:lnTo>
                  <a:pt x="926322" y="0"/>
                </a:lnTo>
                <a:lnTo>
                  <a:pt x="3583772" y="0"/>
                </a:lnTo>
                <a:cubicBezTo>
                  <a:pt x="3579799" y="1053758"/>
                  <a:pt x="3575825" y="2107516"/>
                  <a:pt x="3571852" y="3161274"/>
                </a:cubicBezTo>
                <a:lnTo>
                  <a:pt x="0" y="3161274"/>
                </a:lnTo>
                <a:close/>
              </a:path>
            </a:pathLst>
          </a:custGeom>
          <a:noFill/>
        </p:spPr>
        <p:txBody>
          <a:bodyPr/>
          <a:lstStyle/>
          <a:p>
            <a:endParaRPr lang="fr-FR"/>
          </a:p>
        </p:txBody>
      </p:sp>
      <p:sp>
        <p:nvSpPr>
          <p:cNvPr id="11"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425658301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 columns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7" name="Content Placeholder 6"/>
          <p:cNvSpPr>
            <a:spLocks noGrp="1"/>
          </p:cNvSpPr>
          <p:nvPr>
            <p:ph sz="quarter" idx="11"/>
          </p:nvPr>
        </p:nvSpPr>
        <p:spPr>
          <a:xfrm>
            <a:off x="972319" y="1692077"/>
            <a:ext cx="4680520" cy="3888432"/>
          </a:xfrm>
        </p:spPr>
        <p:txBody>
          <a:bodyPr/>
          <a:lstStyle>
            <a:lvl2pPr>
              <a:defRPr b="0"/>
            </a:lvl2pPr>
          </a:lstStyle>
          <a:p>
            <a:pPr lvl="0"/>
            <a:r>
              <a:rPr lang="en-US"/>
              <a:t>Click to edit Master text styles</a:t>
            </a:r>
          </a:p>
          <a:p>
            <a:pPr lvl="1"/>
            <a:r>
              <a:rPr lang="en-US"/>
              <a:t>Second level</a:t>
            </a:r>
          </a:p>
          <a:p>
            <a:pPr lvl="2"/>
            <a:r>
              <a:rPr lang="en-US"/>
              <a:t>Third level</a:t>
            </a:r>
          </a:p>
        </p:txBody>
      </p:sp>
      <p:sp>
        <p:nvSpPr>
          <p:cNvPr id="9" name="Content Placeholder 8"/>
          <p:cNvSpPr>
            <a:spLocks noGrp="1"/>
          </p:cNvSpPr>
          <p:nvPr>
            <p:ph sz="quarter" idx="12"/>
          </p:nvPr>
        </p:nvSpPr>
        <p:spPr>
          <a:xfrm>
            <a:off x="6228903" y="1692077"/>
            <a:ext cx="5040312" cy="3888234"/>
          </a:xfrm>
        </p:spPr>
        <p:txBody>
          <a:bodyPr/>
          <a:lstStyle>
            <a:lvl2pPr>
              <a:defRPr b="0"/>
            </a:lvl2pPr>
          </a:lstStyle>
          <a:p>
            <a:pPr lvl="0"/>
            <a:r>
              <a:rPr lang="en-US"/>
              <a:t>Click to edit Master text styles</a:t>
            </a:r>
          </a:p>
          <a:p>
            <a:pPr lvl="1"/>
            <a:r>
              <a:rPr lang="en-US"/>
              <a:t>Second level</a:t>
            </a:r>
          </a:p>
          <a:p>
            <a:pPr lvl="2"/>
            <a:r>
              <a:rPr lang="en-US"/>
              <a:t>Third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385966067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hapter pa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0165" y="1908101"/>
            <a:ext cx="10589444" cy="995809"/>
          </a:xfrm>
        </p:spPr>
        <p:txBody>
          <a:bodyPr>
            <a:noAutofit/>
          </a:bodyPr>
          <a:lstStyle>
            <a:lvl1pPr algn="ctr">
              <a:defRPr sz="5400">
                <a:solidFill>
                  <a:schemeClr val="bg2"/>
                </a:solidFill>
              </a:defRPr>
            </a:lvl1pPr>
          </a:lstStyle>
          <a:p>
            <a:r>
              <a:rPr lang="en-US"/>
              <a:t>Click to edit Master title sty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
        <p:nvSpPr>
          <p:cNvPr id="7"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147336914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framed picture + coloured slide">
    <p:bg>
      <p:bgPr>
        <a:solidFill>
          <a:schemeClr val="tx2"/>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lvl1pPr>
              <a:defRPr>
                <a:solidFill>
                  <a:schemeClr val="bg1"/>
                </a:solidFill>
              </a:defRPr>
            </a:lvl1pPr>
          </a:lstStyle>
          <a:p>
            <a:endParaRPr lang="en-GB"/>
          </a:p>
        </p:txBody>
      </p:sp>
      <p:sp>
        <p:nvSpPr>
          <p:cNvPr id="2" name="Title 1"/>
          <p:cNvSpPr>
            <a:spLocks noGrp="1"/>
          </p:cNvSpPr>
          <p:nvPr>
            <p:ph type="title"/>
          </p:nvPr>
        </p:nvSpPr>
        <p:spPr>
          <a:xfrm>
            <a:off x="5724847" y="1980109"/>
            <a:ext cx="5654762" cy="2940025"/>
          </a:xfrm>
        </p:spPr>
        <p:txBody>
          <a:bodyPr>
            <a:noAutofit/>
          </a:bodyPr>
          <a:lstStyle>
            <a:lvl1pPr algn="ctr">
              <a:defRPr sz="4000">
                <a:solidFill>
                  <a:schemeClr val="bg2"/>
                </a:solidFill>
              </a:defRPr>
            </a:lvl1pPr>
          </a:lstStyle>
          <a:p>
            <a:r>
              <a:rPr lang="en-US"/>
              <a:t>Click to edit Master title sty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
        <p:nvSpPr>
          <p:cNvPr id="8"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222120710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loured 5th element and background picture">
    <p:bg>
      <p:bgPr>
        <a:solidFill>
          <a:schemeClr val="tx2"/>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p>
            <a:endParaRPr lang="en-GB"/>
          </a:p>
        </p:txBody>
      </p:sp>
      <p:sp>
        <p:nvSpPr>
          <p:cNvPr id="2" name="Title 1"/>
          <p:cNvSpPr>
            <a:spLocks noGrp="1"/>
          </p:cNvSpPr>
          <p:nvPr>
            <p:ph type="title"/>
          </p:nvPr>
        </p:nvSpPr>
        <p:spPr>
          <a:xfrm>
            <a:off x="8206989" y="2484165"/>
            <a:ext cx="3566530" cy="2940025"/>
          </a:xfrm>
        </p:spPr>
        <p:txBody>
          <a:bodyPr>
            <a:noAutofit/>
          </a:bodyPr>
          <a:lstStyle>
            <a:lvl1pPr algn="r">
              <a:defRPr sz="4000">
                <a:solidFill>
                  <a:schemeClr val="bg2"/>
                </a:solidFill>
              </a:defRPr>
            </a:lvl1pPr>
          </a:lstStyle>
          <a:p>
            <a:r>
              <a:rPr lang="en-US"/>
              <a:t>Click to edit Master title sty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
        <p:nvSpPr>
          <p:cNvPr id="4" name="Text Placeholder 3"/>
          <p:cNvSpPr>
            <a:spLocks noGrp="1"/>
          </p:cNvSpPr>
          <p:nvPr>
            <p:ph type="body" sz="quarter" idx="13"/>
          </p:nvPr>
        </p:nvSpPr>
        <p:spPr>
          <a:xfrm>
            <a:off x="467742" y="467941"/>
            <a:ext cx="2880841" cy="4608512"/>
          </a:xfrm>
        </p:spPr>
        <p:txBody>
          <a:bodyPr/>
          <a:lstStyle>
            <a:lvl1pPr>
              <a:defRPr sz="4000">
                <a:solidFill>
                  <a:schemeClr val="bg2"/>
                </a:solidFill>
              </a:defRPr>
            </a:lvl1pPr>
          </a:lstStyle>
          <a:p>
            <a:pPr lvl="0"/>
            <a:r>
              <a:rPr lang="en-US"/>
              <a:t>Edit Master text styles</a:t>
            </a:r>
          </a:p>
        </p:txBody>
      </p:sp>
      <p:sp>
        <p:nvSpPr>
          <p:cNvPr id="8"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328462477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ackground picture white logo">
    <p:spTree>
      <p:nvGrpSpPr>
        <p:cNvPr id="1" name=""/>
        <p:cNvGrpSpPr/>
        <p:nvPr/>
      </p:nvGrpSpPr>
      <p:grpSpPr>
        <a:xfrm>
          <a:off x="0" y="0"/>
          <a:ext cx="0" cy="0"/>
          <a:chOff x="0" y="0"/>
          <a:chExt cx="0" cy="0"/>
        </a:xfrm>
      </p:grpSpPr>
      <p:sp>
        <p:nvSpPr>
          <p:cNvPr id="2" name="Title 1"/>
          <p:cNvSpPr>
            <a:spLocks noGrp="1"/>
          </p:cNvSpPr>
          <p:nvPr>
            <p:ph type="title"/>
          </p:nvPr>
        </p:nvSpPr>
        <p:spPr>
          <a:xfrm>
            <a:off x="936316" y="1992412"/>
            <a:ext cx="10297144" cy="1139825"/>
          </a:xfrm>
        </p:spPr>
        <p:txBody>
          <a:bodyPr/>
          <a:lstStyle>
            <a:lvl1pPr algn="ctr">
              <a:defRPr b="0">
                <a:solidFill>
                  <a:schemeClr val="bg2"/>
                </a:solidFill>
              </a:defRPr>
            </a:lvl1p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
        <p:nvSpPr>
          <p:cNvPr id="5"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baseline="0">
                <a:solidFill>
                  <a:schemeClr val="bg2"/>
                </a:solidFill>
              </a:defRPr>
            </a:lvl1pPr>
          </a:lstStyle>
          <a:p>
            <a:r>
              <a:rPr lang="en-US"/>
              <a:t>© HL Display 2018 – All rights reserved</a:t>
            </a:r>
            <a:endParaRPr lang="fr-FR"/>
          </a:p>
        </p:txBody>
      </p:sp>
    </p:spTree>
    <p:extLst>
      <p:ext uri="{BB962C8B-B14F-4D97-AF65-F5344CB8AC3E}">
        <p14:creationId xmlns:p14="http://schemas.microsoft.com/office/powerpoint/2010/main" val="54828871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hank you  Layou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368363" y="1992412"/>
            <a:ext cx="9433048" cy="2291953"/>
          </a:xfrm>
        </p:spPr>
        <p:txBody>
          <a:bodyPr>
            <a:noAutofit/>
          </a:bodyPr>
          <a:lstStyle>
            <a:lvl1pPr algn="ctr">
              <a:defRPr sz="9600" b="1">
                <a:solidFill>
                  <a:schemeClr val="bg2"/>
                </a:solidFill>
              </a:defRPr>
            </a:lvl1pPr>
          </a:lstStyle>
          <a:p>
            <a:r>
              <a:rPr lang="en-US"/>
              <a:t>Click to edit Master title style</a:t>
            </a:r>
            <a:endParaRPr lang="en-GB"/>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
        <p:nvSpPr>
          <p:cNvPr id="7" name="Text Placeholder 6"/>
          <p:cNvSpPr>
            <a:spLocks noGrp="1"/>
          </p:cNvSpPr>
          <p:nvPr>
            <p:ph type="body" sz="quarter" idx="10"/>
          </p:nvPr>
        </p:nvSpPr>
        <p:spPr>
          <a:xfrm>
            <a:off x="468957" y="6156127"/>
            <a:ext cx="4895850" cy="287873"/>
          </a:xfrm>
        </p:spPr>
        <p:txBody>
          <a:bodyPr>
            <a:normAutofit/>
          </a:bodyPr>
          <a:lstStyle>
            <a:lvl1pPr>
              <a:defRPr sz="1300">
                <a:solidFill>
                  <a:schemeClr val="bg2"/>
                </a:solidFill>
              </a:defRPr>
            </a:lvl1pPr>
          </a:lstStyle>
          <a:p>
            <a:pPr lvl="0"/>
            <a:r>
              <a:rPr lang="en-US"/>
              <a:t>Click to edit Master text styles</a:t>
            </a:r>
          </a:p>
        </p:txBody>
      </p:sp>
      <p:grpSp>
        <p:nvGrpSpPr>
          <p:cNvPr id="15" name="Group 14"/>
          <p:cNvGrpSpPr/>
          <p:nvPr userDrawn="1"/>
        </p:nvGrpSpPr>
        <p:grpSpPr>
          <a:xfrm>
            <a:off x="540271" y="5168664"/>
            <a:ext cx="6948999" cy="1004903"/>
            <a:chOff x="360598" y="5168664"/>
            <a:chExt cx="6948999" cy="1004903"/>
          </a:xfrm>
        </p:grpSpPr>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20591" y="5294290"/>
              <a:ext cx="1830986" cy="878185"/>
            </a:xfrm>
            <a:prstGeom prst="rect">
              <a:avLst/>
            </a:prstGeom>
          </p:spPr>
        </p:pic>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598" y="5295382"/>
              <a:ext cx="1584176" cy="878185"/>
            </a:xfrm>
            <a:prstGeom prst="rect">
              <a:avLst/>
            </a:prstGeom>
          </p:spPr>
        </p:pic>
        <p:pic>
          <p:nvPicPr>
            <p:cNvPr id="18" name="Picture 1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806302" y="5168664"/>
              <a:ext cx="1584176" cy="878185"/>
            </a:xfrm>
            <a:prstGeom prst="rect">
              <a:avLst/>
            </a:prstGeom>
          </p:spPr>
        </p:pic>
        <p:pic>
          <p:nvPicPr>
            <p:cNvPr id="19" name="Picture 18"/>
            <p:cNvPicPr>
              <a:picLocks noChangeAspect="1"/>
            </p:cNvPicPr>
            <p:nvPr userDrawn="1"/>
          </p:nvPicPr>
          <p:blipFill rotWithShape="1">
            <a:blip r:embed="rId6" cstate="print">
              <a:extLst>
                <a:ext uri="{28A0092B-C50C-407E-A947-70E740481C1C}">
                  <a14:useLocalDpi xmlns:a14="http://schemas.microsoft.com/office/drawing/2010/main" val="0"/>
                </a:ext>
              </a:extLst>
            </a:blip>
            <a:srcRect t="72634" b="13682"/>
            <a:stretch/>
          </p:blipFill>
          <p:spPr>
            <a:xfrm>
              <a:off x="5508823" y="5466782"/>
              <a:ext cx="1800774" cy="532756"/>
            </a:xfrm>
            <a:prstGeom prst="rect">
              <a:avLst/>
            </a:prstGeom>
          </p:spPr>
        </p:pic>
      </p:grpSp>
    </p:spTree>
    <p:extLst>
      <p:ext uri="{BB962C8B-B14F-4D97-AF65-F5344CB8AC3E}">
        <p14:creationId xmlns:p14="http://schemas.microsoft.com/office/powerpoint/2010/main" val="55626941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
  <p:cSld name="Transparent colour for picture background">
    <p:spTree>
      <p:nvGrpSpPr>
        <p:cNvPr id="1" name=""/>
        <p:cNvGrpSpPr/>
        <p:nvPr/>
      </p:nvGrpSpPr>
      <p:grpSpPr>
        <a:xfrm>
          <a:off x="0" y="0"/>
          <a:ext cx="0" cy="0"/>
          <a:chOff x="0" y="0"/>
          <a:chExt cx="0" cy="0"/>
        </a:xfrm>
      </p:grpSpPr>
      <p:sp>
        <p:nvSpPr>
          <p:cNvPr id="5" name="Freeform 4"/>
          <p:cNvSpPr/>
          <p:nvPr userDrawn="1"/>
        </p:nvSpPr>
        <p:spPr>
          <a:xfrm>
            <a:off x="-28576" y="1146412"/>
            <a:ext cx="7806519" cy="3712191"/>
          </a:xfrm>
          <a:custGeom>
            <a:avLst/>
            <a:gdLst>
              <a:gd name="connsiteX0" fmla="*/ 0 w 7806519"/>
              <a:gd name="connsiteY0" fmla="*/ 0 h 3712191"/>
              <a:gd name="connsiteX1" fmla="*/ 7806519 w 7806519"/>
              <a:gd name="connsiteY1" fmla="*/ 0 h 3712191"/>
              <a:gd name="connsiteX2" fmla="*/ 6564573 w 7806519"/>
              <a:gd name="connsiteY2" fmla="*/ 3712191 h 3712191"/>
              <a:gd name="connsiteX3" fmla="*/ 13648 w 7806519"/>
              <a:gd name="connsiteY3" fmla="*/ 3712191 h 3712191"/>
              <a:gd name="connsiteX4" fmla="*/ 0 w 7806519"/>
              <a:gd name="connsiteY4" fmla="*/ 0 h 3712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6519" h="3712191">
                <a:moveTo>
                  <a:pt x="0" y="0"/>
                </a:moveTo>
                <a:lnTo>
                  <a:pt x="7806519" y="0"/>
                </a:lnTo>
                <a:lnTo>
                  <a:pt x="6564573" y="3712191"/>
                </a:lnTo>
                <a:lnTo>
                  <a:pt x="13648" y="3712191"/>
                </a:lnTo>
                <a:cubicBezTo>
                  <a:pt x="9099" y="2474794"/>
                  <a:pt x="4549" y="1237397"/>
                  <a:pt x="0" y="0"/>
                </a:cubicBezTo>
                <a:close/>
              </a:path>
            </a:pathLst>
          </a:cu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972000" y="2772000"/>
            <a:ext cx="5616000" cy="1512000"/>
          </a:xfrm>
          <a:prstGeom prst="rect">
            <a:avLst/>
          </a:prstGeom>
        </p:spPr>
        <p:txBody>
          <a:bodyPr>
            <a:noAutofit/>
          </a:bodyPr>
          <a:lstStyle>
            <a:lvl1pPr>
              <a:defRPr sz="3200" i="0"/>
            </a:lvl1pPr>
          </a:lstStyle>
          <a:p>
            <a:r>
              <a:rPr lang="en-US"/>
              <a:t>Click to edit Master title style - Blue element with transparence for full picture background</a:t>
            </a:r>
            <a:br>
              <a:rPr lang="en-US"/>
            </a:br>
            <a:endParaRPr lang="en-GB"/>
          </a:p>
        </p:txBody>
      </p:sp>
      <p:sp>
        <p:nvSpPr>
          <p:cNvPr id="3" name="Subtitle 2"/>
          <p:cNvSpPr>
            <a:spLocks noGrp="1"/>
          </p:cNvSpPr>
          <p:nvPr>
            <p:ph type="subTitle" idx="1" hasCustomPrompt="1"/>
          </p:nvPr>
        </p:nvSpPr>
        <p:spPr>
          <a:xfrm>
            <a:off x="972000" y="4305600"/>
            <a:ext cx="5616000" cy="410400"/>
          </a:xfrm>
          <a:prstGeom prst="rect">
            <a:avLst/>
          </a:prstGeom>
        </p:spPr>
        <p:txBody>
          <a:bodyPr>
            <a:noAutofit/>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1430" y="1764084"/>
            <a:ext cx="1469814" cy="900000"/>
          </a:xfrm>
          <a:prstGeom prst="rect">
            <a:avLst/>
          </a:prstGeom>
        </p:spPr>
      </p:pic>
      <p:sp>
        <p:nvSpPr>
          <p:cNvPr id="6" name="Footer Placeholder 1"/>
          <p:cNvSpPr>
            <a:spLocks noGrp="1"/>
          </p:cNvSpPr>
          <p:nvPr>
            <p:ph type="ftr" sz="quarter" idx="3"/>
          </p:nvPr>
        </p:nvSpPr>
        <p:spPr>
          <a:xfrm>
            <a:off x="1116335" y="6340475"/>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107950900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framed picture + coloured slide">
    <p:bg>
      <p:bgPr>
        <a:solidFill>
          <a:schemeClr val="tx2"/>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1"/>
          </p:nvPr>
        </p:nvSpPr>
        <p:spPr>
          <a:xfrm>
            <a:off x="0" y="0"/>
            <a:ext cx="5580063" cy="6843403"/>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 name="connsiteX0" fmla="*/ 0 w 5580063"/>
              <a:gd name="connsiteY0" fmla="*/ 0 h 6840538"/>
              <a:gd name="connsiteX1" fmla="*/ 5580063 w 5580063"/>
              <a:gd name="connsiteY1" fmla="*/ 0 h 6840538"/>
              <a:gd name="connsiteX2" fmla="*/ 3146247 w 5580063"/>
              <a:gd name="connsiteY2" fmla="*/ 5704413 h 6840538"/>
              <a:gd name="connsiteX3" fmla="*/ 0 w 5580063"/>
              <a:gd name="connsiteY3" fmla="*/ 6840538 h 6840538"/>
              <a:gd name="connsiteX4" fmla="*/ 0 w 5580063"/>
              <a:gd name="connsiteY4" fmla="*/ 0 h 6840538"/>
              <a:gd name="connsiteX0" fmla="*/ 0 w 5580063"/>
              <a:gd name="connsiteY0" fmla="*/ 0 h 6222917"/>
              <a:gd name="connsiteX1" fmla="*/ 5580063 w 5580063"/>
              <a:gd name="connsiteY1" fmla="*/ 0 h 6222917"/>
              <a:gd name="connsiteX2" fmla="*/ 3146247 w 5580063"/>
              <a:gd name="connsiteY2" fmla="*/ 5704413 h 6222917"/>
              <a:gd name="connsiteX3" fmla="*/ 272716 w 5580063"/>
              <a:gd name="connsiteY3" fmla="*/ 6222917 h 6222917"/>
              <a:gd name="connsiteX4" fmla="*/ 0 w 5580063"/>
              <a:gd name="connsiteY4" fmla="*/ 0 h 6222917"/>
              <a:gd name="connsiteX0" fmla="*/ 0 w 5580063"/>
              <a:gd name="connsiteY0" fmla="*/ 0 h 6840538"/>
              <a:gd name="connsiteX1" fmla="*/ 5580063 w 5580063"/>
              <a:gd name="connsiteY1" fmla="*/ 0 h 6840538"/>
              <a:gd name="connsiteX2" fmla="*/ 3146247 w 5580063"/>
              <a:gd name="connsiteY2" fmla="*/ 5704413 h 6840538"/>
              <a:gd name="connsiteX3" fmla="*/ 0 w 5580063"/>
              <a:gd name="connsiteY3" fmla="*/ 6840538 h 6840538"/>
              <a:gd name="connsiteX4" fmla="*/ 0 w 5580063"/>
              <a:gd name="connsiteY4" fmla="*/ 0 h 6840538"/>
              <a:gd name="connsiteX0" fmla="*/ 0 w 5580063"/>
              <a:gd name="connsiteY0" fmla="*/ 0 h 6843403"/>
              <a:gd name="connsiteX1" fmla="*/ 5580063 w 5580063"/>
              <a:gd name="connsiteY1" fmla="*/ 0 h 6843403"/>
              <a:gd name="connsiteX2" fmla="*/ 3290625 w 5580063"/>
              <a:gd name="connsiteY2" fmla="*/ 6843403 h 6843403"/>
              <a:gd name="connsiteX3" fmla="*/ 0 w 5580063"/>
              <a:gd name="connsiteY3" fmla="*/ 6840538 h 6843403"/>
              <a:gd name="connsiteX4" fmla="*/ 0 w 5580063"/>
              <a:gd name="connsiteY4" fmla="*/ 0 h 6843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43403">
                <a:moveTo>
                  <a:pt x="0" y="0"/>
                </a:moveTo>
                <a:lnTo>
                  <a:pt x="5580063" y="0"/>
                </a:lnTo>
                <a:lnTo>
                  <a:pt x="3290625" y="6843403"/>
                </a:lnTo>
                <a:lnTo>
                  <a:pt x="0" y="6840538"/>
                </a:lnTo>
                <a:lnTo>
                  <a:pt x="0" y="0"/>
                </a:lnTo>
                <a:close/>
              </a:path>
            </a:pathLst>
          </a:custGeom>
        </p:spPr>
        <p:txBody>
          <a:bodyPr/>
          <a:lstStyle>
            <a:lvl1pPr>
              <a:defRPr>
                <a:solidFill>
                  <a:schemeClr val="bg1"/>
                </a:solidFill>
              </a:defRPr>
            </a:lvl1pPr>
          </a:lstStyle>
          <a:p>
            <a:endParaRPr lang="en-GB"/>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
        <p:nvSpPr>
          <p:cNvPr id="10" name="Title 1">
            <a:extLst>
              <a:ext uri="{FF2B5EF4-FFF2-40B4-BE49-F238E27FC236}">
                <a16:creationId xmlns:a16="http://schemas.microsoft.com/office/drawing/2014/main" id="{6C13A741-605A-4BC1-B12F-6B4884693E96}"/>
              </a:ext>
            </a:extLst>
          </p:cNvPr>
          <p:cNvSpPr>
            <a:spLocks noGrp="1"/>
          </p:cNvSpPr>
          <p:nvPr>
            <p:ph type="title"/>
          </p:nvPr>
        </p:nvSpPr>
        <p:spPr>
          <a:xfrm>
            <a:off x="5795068" y="398125"/>
            <a:ext cx="5832362" cy="1139825"/>
          </a:xfrm>
        </p:spPr>
        <p:txBody>
          <a:bodyPr/>
          <a:lstStyle>
            <a:lvl1pPr>
              <a:defRPr>
                <a:solidFill>
                  <a:schemeClr val="bg2"/>
                </a:solidFill>
              </a:defRPr>
            </a:lvl1pPr>
          </a:lstStyle>
          <a:p>
            <a:r>
              <a:rPr lang="en-US"/>
              <a:t>Click to edit Master title style</a:t>
            </a:r>
            <a:endParaRPr lang="sv-SE"/>
          </a:p>
        </p:txBody>
      </p:sp>
      <p:sp>
        <p:nvSpPr>
          <p:cNvPr id="11" name="Text Placeholder 6">
            <a:extLst>
              <a:ext uri="{FF2B5EF4-FFF2-40B4-BE49-F238E27FC236}">
                <a16:creationId xmlns:a16="http://schemas.microsoft.com/office/drawing/2014/main" id="{37B0033A-ADF4-48AE-89CB-79A6BEA12A9E}"/>
              </a:ext>
            </a:extLst>
          </p:cNvPr>
          <p:cNvSpPr>
            <a:spLocks noGrp="1"/>
          </p:cNvSpPr>
          <p:nvPr>
            <p:ph type="body" sz="quarter" idx="13"/>
          </p:nvPr>
        </p:nvSpPr>
        <p:spPr>
          <a:xfrm>
            <a:off x="5796855" y="1622262"/>
            <a:ext cx="5833170" cy="3096344"/>
          </a:xfrm>
        </p:spPr>
        <p:txBody>
          <a:bodyPr/>
          <a:lstStyle>
            <a:lvl1pPr>
              <a:defRPr>
                <a:solidFill>
                  <a:schemeClr val="bg2"/>
                </a:solidFill>
              </a:defRPr>
            </a:lvl1pPr>
            <a:lvl2pPr marL="174625" indent="-174625">
              <a:defRPr b="0">
                <a:solidFill>
                  <a:schemeClr val="bg2"/>
                </a:solidFill>
              </a:defRPr>
            </a:lvl2pPr>
            <a:lvl3pPr marL="446088" indent="-182563">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a:extLst>
              <a:ext uri="{FF2B5EF4-FFF2-40B4-BE49-F238E27FC236}">
                <a16:creationId xmlns:a16="http://schemas.microsoft.com/office/drawing/2014/main" id="{433DB39A-143B-4E21-B66E-C747B1944757}"/>
              </a:ext>
            </a:extLst>
          </p:cNvPr>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rtl="0" fontAlgn="base">
              <a:spcBef>
                <a:spcPct val="0"/>
              </a:spcBef>
              <a:spcAft>
                <a:spcPct val="0"/>
              </a:spcAft>
              <a:defRPr lang="en-GB" sz="1000" kern="1200" smtClean="0">
                <a:solidFill>
                  <a:schemeClr val="bg1"/>
                </a:solidFill>
                <a:latin typeface="Arial" pitchFamily="34" charset="0"/>
                <a:ea typeface="+mn-ea"/>
                <a:cs typeface="Arial" pitchFamily="34" charset="0"/>
              </a:defRPr>
            </a:lvl1pPr>
          </a:lstStyle>
          <a:p>
            <a:fld id="{C864BB8D-94B4-466C-94BF-D114C83BF951}" type="slidenum">
              <a:rPr lang="sv-SE" smtClean="0"/>
              <a:pPr/>
              <a:t>‹#›</a:t>
            </a:fld>
            <a:endParaRPr lang="sv-SE"/>
          </a:p>
        </p:txBody>
      </p:sp>
      <p:sp>
        <p:nvSpPr>
          <p:cNvPr id="13" name="Footer Placeholder 3">
            <a:extLst>
              <a:ext uri="{FF2B5EF4-FFF2-40B4-BE49-F238E27FC236}">
                <a16:creationId xmlns:a16="http://schemas.microsoft.com/office/drawing/2014/main" id="{904E8A03-9A22-485E-9E85-B8CB75F063B3}"/>
              </a:ext>
            </a:extLst>
          </p:cNvPr>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8044502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olumns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7" name="Content Placeholder 6"/>
          <p:cNvSpPr>
            <a:spLocks noGrp="1"/>
          </p:cNvSpPr>
          <p:nvPr>
            <p:ph sz="quarter" idx="11"/>
          </p:nvPr>
        </p:nvSpPr>
        <p:spPr>
          <a:xfrm>
            <a:off x="972319" y="1692077"/>
            <a:ext cx="4680520" cy="3888432"/>
          </a:xfrm>
        </p:spPr>
        <p:txBody>
          <a:bodyPr/>
          <a:lstStyle>
            <a:lvl2pPr>
              <a:defRPr b="0"/>
            </a:lvl2pPr>
          </a:lstStyle>
          <a:p>
            <a:pPr lvl="0"/>
            <a:r>
              <a:rPr lang="en-US"/>
              <a:t>Click to edit Master text styles</a:t>
            </a:r>
          </a:p>
          <a:p>
            <a:pPr lvl="1"/>
            <a:r>
              <a:rPr lang="en-US"/>
              <a:t>Second level</a:t>
            </a:r>
          </a:p>
          <a:p>
            <a:pPr lvl="2"/>
            <a:r>
              <a:rPr lang="en-US"/>
              <a:t>Third level</a:t>
            </a:r>
          </a:p>
        </p:txBody>
      </p:sp>
      <p:sp>
        <p:nvSpPr>
          <p:cNvPr id="9" name="Content Placeholder 8"/>
          <p:cNvSpPr>
            <a:spLocks noGrp="1"/>
          </p:cNvSpPr>
          <p:nvPr>
            <p:ph sz="quarter" idx="12"/>
          </p:nvPr>
        </p:nvSpPr>
        <p:spPr>
          <a:xfrm>
            <a:off x="6228903" y="1692077"/>
            <a:ext cx="5040312" cy="3888234"/>
          </a:xfrm>
        </p:spPr>
        <p:txBody>
          <a:bodyPr/>
          <a:lstStyle>
            <a:lvl2pPr>
              <a:defRPr b="0"/>
            </a:lvl2pPr>
          </a:lstStyle>
          <a:p>
            <a:pPr lvl="0"/>
            <a:r>
              <a:rPr lang="en-US"/>
              <a:t>Click to edit Master text styles</a:t>
            </a:r>
          </a:p>
          <a:p>
            <a:pPr lvl="1"/>
            <a:r>
              <a:rPr lang="en-US"/>
              <a:t>Second level</a:t>
            </a:r>
          </a:p>
          <a:p>
            <a:pPr lvl="2"/>
            <a:r>
              <a:rPr lang="en-US"/>
              <a:t>Third level</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4155" y="5904252"/>
            <a:ext cx="885348" cy="540353"/>
          </a:xfrm>
          <a:prstGeom prst="rect">
            <a:avLst/>
          </a:prstGeom>
        </p:spPr>
      </p:pic>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7 – All rights reserved</a:t>
            </a:r>
            <a:endParaRPr lang="fr-FR"/>
          </a:p>
        </p:txBody>
      </p:sp>
    </p:spTree>
    <p:extLst>
      <p:ext uri="{BB962C8B-B14F-4D97-AF65-F5344CB8AC3E}">
        <p14:creationId xmlns:p14="http://schemas.microsoft.com/office/powerpoint/2010/main" val="25967391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tandard page">
    <p:spTree>
      <p:nvGrpSpPr>
        <p:cNvPr id="1" name=""/>
        <p:cNvGrpSpPr/>
        <p:nvPr/>
      </p:nvGrpSpPr>
      <p:grpSpPr>
        <a:xfrm>
          <a:off x="0" y="0"/>
          <a:ext cx="0" cy="0"/>
          <a:chOff x="0" y="0"/>
          <a:chExt cx="0" cy="0"/>
        </a:xfrm>
      </p:grpSpPr>
      <p:sp>
        <p:nvSpPr>
          <p:cNvPr id="2" name="Title 1"/>
          <p:cNvSpPr>
            <a:spLocks noGrp="1"/>
          </p:cNvSpPr>
          <p:nvPr>
            <p:ph type="title"/>
          </p:nvPr>
        </p:nvSpPr>
        <p:spPr>
          <a:xfrm>
            <a:off x="541040" y="408236"/>
            <a:ext cx="11088404" cy="1139825"/>
          </a:xfrm>
        </p:spPr>
        <p:txBody>
          <a:bodyPr/>
          <a:lstStyle/>
          <a:p>
            <a:r>
              <a:rPr lang="en-US"/>
              <a:t>Click to edit Master title style</a:t>
            </a:r>
            <a:endParaRPr lang="en-GB"/>
          </a:p>
        </p:txBody>
      </p:sp>
      <p:sp>
        <p:nvSpPr>
          <p:cNvPr id="3" name="Slide Number Placeholder 2"/>
          <p:cNvSpPr>
            <a:spLocks noGrp="1"/>
          </p:cNvSpPr>
          <p:nvPr>
            <p:ph type="sldNum" sz="quarter" idx="10"/>
          </p:nvPr>
        </p:nvSpPr>
        <p:spPr>
          <a:xfrm>
            <a:off x="540271" y="6369099"/>
            <a:ext cx="431279" cy="367036"/>
          </a:xfrm>
        </p:spPr>
        <p:txBody>
          <a:bodyPr/>
          <a:lstStyle/>
          <a:p>
            <a:fld id="{C864BB8D-94B4-466C-94BF-D114C83BF951}" type="slidenum">
              <a:rPr lang="en-GB" smtClean="0"/>
              <a:pPr/>
              <a:t>‹#›</a:t>
            </a:fld>
            <a:endParaRPr lang="en-GB"/>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7" name="Text Placeholder 6"/>
          <p:cNvSpPr>
            <a:spLocks noGrp="1"/>
          </p:cNvSpPr>
          <p:nvPr>
            <p:ph type="body" sz="quarter" idx="11"/>
          </p:nvPr>
        </p:nvSpPr>
        <p:spPr>
          <a:xfrm>
            <a:off x="540271" y="1620839"/>
            <a:ext cx="11089232" cy="4051746"/>
          </a:xfrm>
        </p:spPr>
        <p:txBody>
          <a:bodyPr/>
          <a:lstStyle>
            <a:lvl1pPr>
              <a:defRPr>
                <a:solidFill>
                  <a:schemeClr val="accent4"/>
                </a:solidFill>
              </a:defRPr>
            </a:lvl1pPr>
            <a:lvl2pPr marL="174625" indent="-174625">
              <a:defRPr b="0">
                <a:solidFill>
                  <a:schemeClr val="accent4"/>
                </a:solidFill>
              </a:defRPr>
            </a:lvl2pPr>
            <a:lvl3pPr marL="446088" indent="-182563">
              <a:defRPr>
                <a:solidFill>
                  <a:schemeClr val="accent4"/>
                </a:solidFill>
              </a:defRPr>
            </a:lvl3pPr>
          </a:lstStyle>
          <a:p>
            <a:pPr lvl="0"/>
            <a:r>
              <a:rPr lang="en-US"/>
              <a:t>Click to edit Master text styles</a:t>
            </a:r>
          </a:p>
          <a:p>
            <a:pPr lvl="1"/>
            <a:r>
              <a:rPr lang="en-US"/>
              <a:t>Second level</a:t>
            </a:r>
          </a:p>
          <a:p>
            <a:pPr lvl="2"/>
            <a:r>
              <a:rPr lang="en-US"/>
              <a:t>Third level</a:t>
            </a:r>
          </a:p>
        </p:txBody>
      </p:sp>
      <p:sp>
        <p:nvSpPr>
          <p:cNvPr id="9"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307994436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Standard p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409E496-0F8B-4FF7-8D20-59228095B454}"/>
              </a:ext>
            </a:extLst>
          </p:cNvPr>
          <p:cNvSpPr/>
          <p:nvPr userDrawn="1"/>
        </p:nvSpPr>
        <p:spPr>
          <a:xfrm>
            <a:off x="-1" y="0"/>
            <a:ext cx="12169775" cy="6840538"/>
          </a:xfrm>
          <a:prstGeom prst="rect">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E"/>
          </a:p>
        </p:txBody>
      </p:sp>
      <p:sp>
        <p:nvSpPr>
          <p:cNvPr id="2" name="Title 1"/>
          <p:cNvSpPr>
            <a:spLocks noGrp="1"/>
          </p:cNvSpPr>
          <p:nvPr>
            <p:ph type="title" hasCustomPrompt="1"/>
          </p:nvPr>
        </p:nvSpPr>
        <p:spPr>
          <a:xfrm>
            <a:off x="541040" y="408236"/>
            <a:ext cx="11088404" cy="1139825"/>
          </a:xfrm>
        </p:spPr>
        <p:txBody>
          <a:bodyPr/>
          <a:lstStyle>
            <a:lvl1pPr>
              <a:defRPr>
                <a:solidFill>
                  <a:schemeClr val="bg2"/>
                </a:solidFill>
              </a:defRPr>
            </a:lvl1pPr>
          </a:lstStyle>
          <a:p>
            <a:r>
              <a:rPr lang="en-US"/>
              <a:t>Transparence for full picture background</a:t>
            </a:r>
            <a:endParaRPr lang="en-GB"/>
          </a:p>
        </p:txBody>
      </p:sp>
      <p:sp>
        <p:nvSpPr>
          <p:cNvPr id="3" name="Slide Number Placeholder 2"/>
          <p:cNvSpPr>
            <a:spLocks noGrp="1"/>
          </p:cNvSpPr>
          <p:nvPr>
            <p:ph type="sldNum" sz="quarter" idx="10"/>
          </p:nvPr>
        </p:nvSpPr>
        <p:spPr>
          <a:xfrm>
            <a:off x="540271" y="6369099"/>
            <a:ext cx="431279" cy="367036"/>
          </a:xfrm>
        </p:spPr>
        <p:txBody>
          <a:bodyPr/>
          <a:lstStyle/>
          <a:p>
            <a:fld id="{C864BB8D-94B4-466C-94BF-D114C83BF951}" type="slidenum">
              <a:rPr lang="en-GB" smtClean="0"/>
              <a:pPr/>
              <a:t>‹#›</a:t>
            </a:fld>
            <a:endParaRPr lang="en-GB"/>
          </a:p>
        </p:txBody>
      </p:sp>
      <p:sp>
        <p:nvSpPr>
          <p:cNvPr id="7" name="Text Placeholder 6"/>
          <p:cNvSpPr>
            <a:spLocks noGrp="1"/>
          </p:cNvSpPr>
          <p:nvPr>
            <p:ph type="body" sz="quarter" idx="11"/>
          </p:nvPr>
        </p:nvSpPr>
        <p:spPr>
          <a:xfrm>
            <a:off x="540271" y="1620839"/>
            <a:ext cx="11089232" cy="4051746"/>
          </a:xfrm>
        </p:spPr>
        <p:txBody>
          <a:bodyPr/>
          <a:lstStyle>
            <a:lvl1pPr>
              <a:defRPr>
                <a:solidFill>
                  <a:schemeClr val="bg2"/>
                </a:solidFill>
              </a:defRPr>
            </a:lvl1pPr>
            <a:lvl2pPr marL="174625" indent="-174625">
              <a:defRPr b="0">
                <a:solidFill>
                  <a:schemeClr val="bg2"/>
                </a:solidFill>
              </a:defRPr>
            </a:lvl2pPr>
            <a:lvl3pPr marL="446088" indent="-182563">
              <a:defRPr>
                <a:solidFill>
                  <a:schemeClr val="bg2"/>
                </a:solidFill>
              </a:defRPr>
            </a:lvl3pPr>
          </a:lstStyle>
          <a:p>
            <a:pPr lvl="0"/>
            <a:r>
              <a:rPr lang="en-US"/>
              <a:t>Click to edit Master text styles</a:t>
            </a:r>
          </a:p>
          <a:p>
            <a:pPr lvl="1"/>
            <a:r>
              <a:rPr lang="en-US"/>
              <a:t>Second level</a:t>
            </a:r>
          </a:p>
          <a:p>
            <a:pPr lvl="2"/>
            <a:r>
              <a:rPr lang="en-US"/>
              <a:t>Third level</a:t>
            </a:r>
          </a:p>
        </p:txBody>
      </p:sp>
      <p:sp>
        <p:nvSpPr>
          <p:cNvPr id="9"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pic>
        <p:nvPicPr>
          <p:cNvPr id="11" name="Picture 10">
            <a:extLst>
              <a:ext uri="{FF2B5EF4-FFF2-40B4-BE49-F238E27FC236}">
                <a16:creationId xmlns:a16="http://schemas.microsoft.com/office/drawing/2014/main" id="{0E2090B7-7DF0-42CA-A0B6-B21C3B04344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Tree>
    <p:extLst>
      <p:ext uri="{BB962C8B-B14F-4D97-AF65-F5344CB8AC3E}">
        <p14:creationId xmlns:p14="http://schemas.microsoft.com/office/powerpoint/2010/main" val="337095543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columns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7" name="Content Placeholder 6"/>
          <p:cNvSpPr>
            <a:spLocks noGrp="1"/>
          </p:cNvSpPr>
          <p:nvPr>
            <p:ph sz="quarter" idx="11"/>
          </p:nvPr>
        </p:nvSpPr>
        <p:spPr>
          <a:xfrm>
            <a:off x="539749" y="1620838"/>
            <a:ext cx="5400000" cy="4103687"/>
          </a:xfrm>
        </p:spPr>
        <p:txBody>
          <a:bodyPr/>
          <a:lstStyle>
            <a:lvl2pPr>
              <a:defRPr b="0"/>
            </a:lvl2pPr>
          </a:lstStyle>
          <a:p>
            <a:pPr lvl="0"/>
            <a:r>
              <a:rPr lang="en-US"/>
              <a:t>Click to edit Master text styles</a:t>
            </a:r>
          </a:p>
          <a:p>
            <a:pPr lvl="1"/>
            <a:r>
              <a:rPr lang="en-US"/>
              <a:t>Second level</a:t>
            </a:r>
          </a:p>
          <a:p>
            <a:pPr lvl="2"/>
            <a:r>
              <a:rPr lang="en-US"/>
              <a:t>Third level</a:t>
            </a:r>
          </a:p>
        </p:txBody>
      </p:sp>
      <p:sp>
        <p:nvSpPr>
          <p:cNvPr id="9" name="Content Placeholder 8"/>
          <p:cNvSpPr>
            <a:spLocks noGrp="1"/>
          </p:cNvSpPr>
          <p:nvPr>
            <p:ph sz="quarter" idx="12"/>
          </p:nvPr>
        </p:nvSpPr>
        <p:spPr>
          <a:xfrm>
            <a:off x="6228903" y="1620843"/>
            <a:ext cx="5400600" cy="4103478"/>
          </a:xfrm>
        </p:spPr>
        <p:txBody>
          <a:bodyPr/>
          <a:lstStyle>
            <a:lvl2pPr>
              <a:defRPr b="0"/>
            </a:lvl2pPr>
          </a:lstStyle>
          <a:p>
            <a:pPr lvl="0"/>
            <a:r>
              <a:rPr lang="en-US"/>
              <a:t>Click to edit Master text styles</a:t>
            </a:r>
          </a:p>
          <a:p>
            <a:pPr lvl="1"/>
            <a:r>
              <a:rPr lang="en-US"/>
              <a:t>Second level</a:t>
            </a:r>
          </a:p>
          <a:p>
            <a:pPr lvl="2"/>
            <a:r>
              <a:rPr lang="en-US"/>
              <a:t>Third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88635210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540271" y="408236"/>
            <a:ext cx="11089754" cy="635769"/>
          </a:xfrm>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7" name="Content Placeholder 6"/>
          <p:cNvSpPr>
            <a:spLocks noGrp="1"/>
          </p:cNvSpPr>
          <p:nvPr>
            <p:ph sz="quarter" idx="11"/>
          </p:nvPr>
        </p:nvSpPr>
        <p:spPr>
          <a:xfrm>
            <a:off x="540271" y="1116013"/>
            <a:ext cx="11089754" cy="4608512"/>
          </a:xfrm>
        </p:spPr>
        <p:txBody>
          <a:bodyPr/>
          <a:lstStyle>
            <a:lvl2pPr>
              <a:defRPr b="0"/>
            </a:lvl2pPr>
          </a:lstStyle>
          <a:p>
            <a:pPr lvl="0"/>
            <a:r>
              <a:rPr lang="en-US"/>
              <a:t>Click to edit Master text styles</a:t>
            </a:r>
          </a:p>
          <a:p>
            <a:pPr lvl="1"/>
            <a:r>
              <a:rPr lang="en-US"/>
              <a:t>Second level</a:t>
            </a:r>
          </a:p>
          <a:p>
            <a:pPr lvl="2"/>
            <a:r>
              <a:rPr lang="en-US"/>
              <a:t>Third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68242373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Fifth element with picture on right side and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CF32B7-67E7-45F9-A962-ADCA304D1371}"/>
              </a:ext>
            </a:extLst>
          </p:cNvPr>
          <p:cNvSpPr>
            <a:spLocks noGrp="1"/>
          </p:cNvSpPr>
          <p:nvPr>
            <p:ph type="title"/>
          </p:nvPr>
        </p:nvSpPr>
        <p:spPr>
          <a:xfrm>
            <a:off x="541099" y="408236"/>
            <a:ext cx="6119852" cy="1139825"/>
          </a:xfrm>
        </p:spPr>
        <p:txBody>
          <a:bodyPr anchor="t" anchorCtr="0"/>
          <a:lstStyle/>
          <a:p>
            <a:r>
              <a:rPr lang="en-US"/>
              <a:t>Click to edit Master title style</a:t>
            </a:r>
            <a:endParaRPr lang="sv-SE"/>
          </a:p>
        </p:txBody>
      </p:sp>
      <p:sp>
        <p:nvSpPr>
          <p:cNvPr id="3" name="Slide Number Placeholder 2">
            <a:extLst>
              <a:ext uri="{FF2B5EF4-FFF2-40B4-BE49-F238E27FC236}">
                <a16:creationId xmlns:a16="http://schemas.microsoft.com/office/drawing/2014/main" id="{D48C233D-E49A-49D2-A1BA-5C27EAC8F9DD}"/>
              </a:ext>
            </a:extLst>
          </p:cNvPr>
          <p:cNvSpPr>
            <a:spLocks noGrp="1"/>
          </p:cNvSpPr>
          <p:nvPr>
            <p:ph type="sldNum" sz="quarter" idx="10"/>
          </p:nvPr>
        </p:nvSpPr>
        <p:spPr/>
        <p:txBody>
          <a:bodyPr/>
          <a:lstStyle/>
          <a:p>
            <a:fld id="{C864BB8D-94B4-466C-94BF-D114C83BF951}" type="slidenum">
              <a:rPr lang="en-GB" smtClean="0"/>
              <a:pPr/>
              <a:t>‹#›</a:t>
            </a:fld>
            <a:endParaRPr lang="en-GB"/>
          </a:p>
        </p:txBody>
      </p:sp>
      <p:sp>
        <p:nvSpPr>
          <p:cNvPr id="4" name="Footer Placeholder 3">
            <a:extLst>
              <a:ext uri="{FF2B5EF4-FFF2-40B4-BE49-F238E27FC236}">
                <a16:creationId xmlns:a16="http://schemas.microsoft.com/office/drawing/2014/main" id="{5EC0407B-0028-4E56-B688-65172DAEDBFA}"/>
              </a:ext>
            </a:extLst>
          </p:cNvPr>
          <p:cNvSpPr>
            <a:spLocks noGrp="1"/>
          </p:cNvSpPr>
          <p:nvPr>
            <p:ph type="ftr" sz="quarter" idx="11"/>
          </p:nvPr>
        </p:nvSpPr>
        <p:spPr/>
        <p:txBody>
          <a:bodyPr/>
          <a:lstStyle/>
          <a:p>
            <a:r>
              <a:rPr lang="en-US"/>
              <a:t>© HL Display 2019 – All rights reserved</a:t>
            </a:r>
            <a:endParaRPr lang="fr-FR"/>
          </a:p>
        </p:txBody>
      </p:sp>
      <p:sp>
        <p:nvSpPr>
          <p:cNvPr id="6" name="Text Placeholder 6">
            <a:extLst>
              <a:ext uri="{FF2B5EF4-FFF2-40B4-BE49-F238E27FC236}">
                <a16:creationId xmlns:a16="http://schemas.microsoft.com/office/drawing/2014/main" id="{EA918214-0631-461A-AA9C-21FACF61B03F}"/>
              </a:ext>
            </a:extLst>
          </p:cNvPr>
          <p:cNvSpPr>
            <a:spLocks noGrp="1"/>
          </p:cNvSpPr>
          <p:nvPr>
            <p:ph type="body" sz="quarter" idx="13"/>
          </p:nvPr>
        </p:nvSpPr>
        <p:spPr>
          <a:xfrm>
            <a:off x="540271" y="1620839"/>
            <a:ext cx="6120700" cy="4319710"/>
          </a:xfrm>
        </p:spPr>
        <p:txBody>
          <a:bodyPr/>
          <a:lstStyle>
            <a:lvl2pPr marL="174625" indent="-174625">
              <a:defRPr b="0"/>
            </a:lvl2pPr>
            <a:lvl3pPr marL="446088" indent="-182563">
              <a:defRPr/>
            </a:lvl3pPr>
          </a:lstStyle>
          <a:p>
            <a:pPr lvl="0"/>
            <a:r>
              <a:rPr lang="en-US"/>
              <a:t>Click to edit Master text styles</a:t>
            </a:r>
          </a:p>
          <a:p>
            <a:pPr lvl="1"/>
            <a:r>
              <a:rPr lang="en-US"/>
              <a:t>Second level</a:t>
            </a:r>
          </a:p>
          <a:p>
            <a:pPr lvl="2"/>
            <a:r>
              <a:rPr lang="en-US"/>
              <a:t>Third level</a:t>
            </a:r>
          </a:p>
        </p:txBody>
      </p:sp>
      <p:sp>
        <p:nvSpPr>
          <p:cNvPr id="13" name="Picture Placeholder 4">
            <a:extLst>
              <a:ext uri="{FF2B5EF4-FFF2-40B4-BE49-F238E27FC236}">
                <a16:creationId xmlns:a16="http://schemas.microsoft.com/office/drawing/2014/main" id="{97031C2C-0CC6-46C0-AD15-7744DFE72B86}"/>
              </a:ext>
            </a:extLst>
          </p:cNvPr>
          <p:cNvSpPr>
            <a:spLocks noGrp="1"/>
          </p:cNvSpPr>
          <p:nvPr>
            <p:ph type="pic" sz="quarter" idx="14"/>
          </p:nvPr>
        </p:nvSpPr>
        <p:spPr>
          <a:xfrm>
            <a:off x="6527148" y="-8021"/>
            <a:ext cx="5644231" cy="6849362"/>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 name="connsiteX0" fmla="*/ 0 w 5610543"/>
              <a:gd name="connsiteY0" fmla="*/ 0 h 6840538"/>
              <a:gd name="connsiteX1" fmla="*/ 5580063 w 5610543"/>
              <a:gd name="connsiteY1" fmla="*/ 0 h 6840538"/>
              <a:gd name="connsiteX2" fmla="*/ 5610543 w 5610543"/>
              <a:gd name="connsiteY2" fmla="*/ 6825299 h 6840538"/>
              <a:gd name="connsiteX3" fmla="*/ 0 w 5610543"/>
              <a:gd name="connsiteY3" fmla="*/ 6840538 h 6840538"/>
              <a:gd name="connsiteX4" fmla="*/ 0 w 5610543"/>
              <a:gd name="connsiteY4" fmla="*/ 0 h 6840538"/>
              <a:gd name="connsiteX0" fmla="*/ 2246811 w 5610543"/>
              <a:gd name="connsiteY0" fmla="*/ 0 h 6840538"/>
              <a:gd name="connsiteX1" fmla="*/ 5580063 w 5610543"/>
              <a:gd name="connsiteY1" fmla="*/ 0 h 6840538"/>
              <a:gd name="connsiteX2" fmla="*/ 5610543 w 5610543"/>
              <a:gd name="connsiteY2" fmla="*/ 6825299 h 6840538"/>
              <a:gd name="connsiteX3" fmla="*/ 0 w 5610543"/>
              <a:gd name="connsiteY3" fmla="*/ 6840538 h 6840538"/>
              <a:gd name="connsiteX4" fmla="*/ 2246811 w 5610543"/>
              <a:gd name="connsiteY4" fmla="*/ 0 h 6840538"/>
              <a:gd name="connsiteX0" fmla="*/ 2246811 w 5612147"/>
              <a:gd name="connsiteY0" fmla="*/ 8021 h 6848559"/>
              <a:gd name="connsiteX1" fmla="*/ 5612147 w 5612147"/>
              <a:gd name="connsiteY1" fmla="*/ 0 h 6848559"/>
              <a:gd name="connsiteX2" fmla="*/ 5610543 w 5612147"/>
              <a:gd name="connsiteY2" fmla="*/ 6833320 h 6848559"/>
              <a:gd name="connsiteX3" fmla="*/ 0 w 5612147"/>
              <a:gd name="connsiteY3" fmla="*/ 6848559 h 6848559"/>
              <a:gd name="connsiteX4" fmla="*/ 2246811 w 5612147"/>
              <a:gd name="connsiteY4" fmla="*/ 8021 h 6848559"/>
              <a:gd name="connsiteX0" fmla="*/ 2246811 w 5612147"/>
              <a:gd name="connsiteY0" fmla="*/ 8021 h 6849362"/>
              <a:gd name="connsiteX1" fmla="*/ 5612147 w 5612147"/>
              <a:gd name="connsiteY1" fmla="*/ 0 h 6849362"/>
              <a:gd name="connsiteX2" fmla="*/ 5610543 w 5612147"/>
              <a:gd name="connsiteY2" fmla="*/ 6849362 h 6849362"/>
              <a:gd name="connsiteX3" fmla="*/ 0 w 5612147"/>
              <a:gd name="connsiteY3" fmla="*/ 6848559 h 6849362"/>
              <a:gd name="connsiteX4" fmla="*/ 2246811 w 5612147"/>
              <a:gd name="connsiteY4" fmla="*/ 8021 h 6849362"/>
              <a:gd name="connsiteX0" fmla="*/ 2278895 w 5644231"/>
              <a:gd name="connsiteY0" fmla="*/ 8021 h 6849362"/>
              <a:gd name="connsiteX1" fmla="*/ 5644231 w 5644231"/>
              <a:gd name="connsiteY1" fmla="*/ 0 h 6849362"/>
              <a:gd name="connsiteX2" fmla="*/ 5642627 w 5644231"/>
              <a:gd name="connsiteY2" fmla="*/ 6849362 h 6849362"/>
              <a:gd name="connsiteX3" fmla="*/ 0 w 5644231"/>
              <a:gd name="connsiteY3" fmla="*/ 6848559 h 6849362"/>
              <a:gd name="connsiteX4" fmla="*/ 2278895 w 5644231"/>
              <a:gd name="connsiteY4" fmla="*/ 8021 h 6849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4231" h="6849362">
                <a:moveTo>
                  <a:pt x="2278895" y="8021"/>
                </a:moveTo>
                <a:lnTo>
                  <a:pt x="5644231" y="0"/>
                </a:lnTo>
                <a:cubicBezTo>
                  <a:pt x="5643696" y="2277773"/>
                  <a:pt x="5643162" y="4571589"/>
                  <a:pt x="5642627" y="6849362"/>
                </a:cubicBezTo>
                <a:lnTo>
                  <a:pt x="0" y="6848559"/>
                </a:lnTo>
                <a:lnTo>
                  <a:pt x="2278895" y="8021"/>
                </a:lnTo>
                <a:close/>
              </a:path>
            </a:pathLst>
          </a:custGeom>
        </p:spPr>
        <p:txBody>
          <a:bodyPr/>
          <a:lstStyle>
            <a:lvl1pPr>
              <a:defRPr>
                <a:solidFill>
                  <a:schemeClr val="bg1"/>
                </a:solidFill>
              </a:defRPr>
            </a:lvl1pPr>
          </a:lstStyle>
          <a:p>
            <a:endParaRPr lang="en-GB"/>
          </a:p>
        </p:txBody>
      </p:sp>
    </p:spTree>
    <p:extLst>
      <p:ext uri="{BB962C8B-B14F-4D97-AF65-F5344CB8AC3E}">
        <p14:creationId xmlns:p14="http://schemas.microsoft.com/office/powerpoint/2010/main" val="175034735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Fifth element with picture on left side with white background">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5580063" cy="6840538"/>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 name="connsiteX0" fmla="*/ 0 w 5580063"/>
              <a:gd name="connsiteY0" fmla="*/ 0 h 6840538"/>
              <a:gd name="connsiteX1" fmla="*/ 5580063 w 5580063"/>
              <a:gd name="connsiteY1" fmla="*/ 0 h 6840538"/>
              <a:gd name="connsiteX2" fmla="*/ 3314689 w 5580063"/>
              <a:gd name="connsiteY2" fmla="*/ 6827361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298647 w 5580063"/>
              <a:gd name="connsiteY2" fmla="*/ 581670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298647 w 5580063"/>
              <a:gd name="connsiteY2" fmla="*/ 6835382 h 6840538"/>
              <a:gd name="connsiteX3" fmla="*/ 0 w 5580063"/>
              <a:gd name="connsiteY3" fmla="*/ 6840538 h 6840538"/>
              <a:gd name="connsiteX4" fmla="*/ 0 w 5580063"/>
              <a:gd name="connsiteY4" fmla="*/ 0 h 684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40538">
                <a:moveTo>
                  <a:pt x="0" y="0"/>
                </a:moveTo>
                <a:lnTo>
                  <a:pt x="5580063" y="0"/>
                </a:lnTo>
                <a:lnTo>
                  <a:pt x="3298647" y="6835382"/>
                </a:lnTo>
                <a:lnTo>
                  <a:pt x="0" y="6840538"/>
                </a:lnTo>
                <a:lnTo>
                  <a:pt x="0" y="0"/>
                </a:lnTo>
                <a:close/>
              </a:path>
            </a:pathLst>
          </a:custGeom>
        </p:spPr>
        <p:txBody>
          <a:bodyPr/>
          <a:lstStyle/>
          <a:p>
            <a:endParaRPr lang="en-GB"/>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8" name="Title 1">
            <a:extLst>
              <a:ext uri="{FF2B5EF4-FFF2-40B4-BE49-F238E27FC236}">
                <a16:creationId xmlns:a16="http://schemas.microsoft.com/office/drawing/2014/main" id="{C8BB1FAE-292E-4157-8976-7FE70CE00F3C}"/>
              </a:ext>
            </a:extLst>
          </p:cNvPr>
          <p:cNvSpPr>
            <a:spLocks noGrp="1"/>
          </p:cNvSpPr>
          <p:nvPr>
            <p:ph type="title"/>
          </p:nvPr>
        </p:nvSpPr>
        <p:spPr>
          <a:xfrm>
            <a:off x="5607315" y="395933"/>
            <a:ext cx="6022188" cy="1139825"/>
          </a:xfrm>
        </p:spPr>
        <p:txBody>
          <a:bodyPr anchor="t" anchorCtr="0"/>
          <a:lstStyle/>
          <a:p>
            <a:r>
              <a:rPr lang="en-US"/>
              <a:t>Click to edit Master title style</a:t>
            </a:r>
            <a:endParaRPr lang="sv-SE"/>
          </a:p>
        </p:txBody>
      </p:sp>
      <p:sp>
        <p:nvSpPr>
          <p:cNvPr id="9" name="Text Placeholder 6">
            <a:extLst>
              <a:ext uri="{FF2B5EF4-FFF2-40B4-BE49-F238E27FC236}">
                <a16:creationId xmlns:a16="http://schemas.microsoft.com/office/drawing/2014/main" id="{9A537318-C454-4000-AF34-50B2B34EEB8A}"/>
              </a:ext>
            </a:extLst>
          </p:cNvPr>
          <p:cNvSpPr>
            <a:spLocks noGrp="1"/>
          </p:cNvSpPr>
          <p:nvPr>
            <p:ph type="body" sz="quarter" idx="13"/>
          </p:nvPr>
        </p:nvSpPr>
        <p:spPr>
          <a:xfrm>
            <a:off x="5609101" y="1620838"/>
            <a:ext cx="6020401" cy="4103687"/>
          </a:xfrm>
        </p:spPr>
        <p:txBody>
          <a:bodyPr/>
          <a:lstStyle>
            <a:lvl1pPr>
              <a:defRPr>
                <a:solidFill>
                  <a:schemeClr val="accent4"/>
                </a:solidFill>
              </a:defRPr>
            </a:lvl1pPr>
            <a:lvl2pPr marL="174625" indent="-174625">
              <a:defRPr b="0">
                <a:solidFill>
                  <a:schemeClr val="accent4"/>
                </a:solidFill>
              </a:defRPr>
            </a:lvl2pPr>
            <a:lvl3pPr marL="446088" indent="-182563">
              <a:defRPr>
                <a:solidFill>
                  <a:schemeClr val="accent4"/>
                </a:solidFill>
              </a:defRPr>
            </a:lvl3pPr>
          </a:lstStyle>
          <a:p>
            <a:pPr lvl="0"/>
            <a:r>
              <a:rPr lang="en-US"/>
              <a:t>Click to edit Master text styles</a:t>
            </a:r>
          </a:p>
          <a:p>
            <a:pPr lvl="1"/>
            <a:r>
              <a:rPr lang="en-US"/>
              <a:t>Second level</a:t>
            </a:r>
          </a:p>
          <a:p>
            <a:pPr lvl="2"/>
            <a:r>
              <a:rPr lang="en-US"/>
              <a:t>Third level</a:t>
            </a:r>
          </a:p>
        </p:txBody>
      </p:sp>
      <p:sp>
        <p:nvSpPr>
          <p:cNvPr id="11" name="Slide Number Placeholder 5">
            <a:extLst>
              <a:ext uri="{FF2B5EF4-FFF2-40B4-BE49-F238E27FC236}">
                <a16:creationId xmlns:a16="http://schemas.microsoft.com/office/drawing/2014/main" id="{68058425-CE1E-4614-9BA2-469816F85DE2}"/>
              </a:ext>
            </a:extLst>
          </p:cNvPr>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rtl="0" fontAlgn="base">
              <a:spcBef>
                <a:spcPct val="0"/>
              </a:spcBef>
              <a:spcAft>
                <a:spcPct val="0"/>
              </a:spcAft>
              <a:defRPr lang="en-GB" sz="1000" kern="1200" smtClean="0">
                <a:solidFill>
                  <a:schemeClr val="bg1"/>
                </a:solidFill>
                <a:latin typeface="Arial" pitchFamily="34" charset="0"/>
                <a:ea typeface="+mn-ea"/>
                <a:cs typeface="Arial" pitchFamily="34" charset="0"/>
              </a:defRPr>
            </a:lvl1pPr>
          </a:lstStyle>
          <a:p>
            <a:fld id="{C864BB8D-94B4-466C-94BF-D114C83BF951}" type="slidenum">
              <a:rPr lang="sv-SE" smtClean="0"/>
              <a:pPr/>
              <a:t>‹#›</a:t>
            </a:fld>
            <a:endParaRPr lang="sv-SE"/>
          </a:p>
        </p:txBody>
      </p:sp>
      <p:sp>
        <p:nvSpPr>
          <p:cNvPr id="12" name="Footer Placeholder 3">
            <a:extLst>
              <a:ext uri="{FF2B5EF4-FFF2-40B4-BE49-F238E27FC236}">
                <a16:creationId xmlns:a16="http://schemas.microsoft.com/office/drawing/2014/main" id="{F4E754B6-AB21-4195-B464-531BCF6DB10D}"/>
              </a:ext>
            </a:extLst>
          </p:cNvPr>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53305763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lose ups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4" name="Picture Placeholder 4"/>
          <p:cNvSpPr>
            <a:spLocks noGrp="1"/>
          </p:cNvSpPr>
          <p:nvPr>
            <p:ph type="pic" sz="quarter" idx="12"/>
          </p:nvPr>
        </p:nvSpPr>
        <p:spPr>
          <a:xfrm>
            <a:off x="4288248" y="1680210"/>
            <a:ext cx="3599871" cy="3180218"/>
          </a:xfrm>
        </p:spPr>
        <p:txBody>
          <a:bodyPr/>
          <a:lstStyle/>
          <a:p>
            <a:endParaRPr lang="fr-FR"/>
          </a:p>
        </p:txBody>
      </p:sp>
      <p:sp>
        <p:nvSpPr>
          <p:cNvPr id="5" name="Picture Placeholder 4"/>
          <p:cNvSpPr>
            <a:spLocks noGrp="1"/>
          </p:cNvSpPr>
          <p:nvPr>
            <p:ph type="pic" sz="quarter" idx="13"/>
          </p:nvPr>
        </p:nvSpPr>
        <p:spPr>
          <a:xfrm>
            <a:off x="8030153" y="1680210"/>
            <a:ext cx="3599871" cy="3180218"/>
          </a:xfrm>
        </p:spPr>
        <p:txBody>
          <a:bodyPr/>
          <a:lstStyle/>
          <a:p>
            <a:endParaRPr lang="fr-FR"/>
          </a:p>
        </p:txBody>
      </p:sp>
      <p:sp>
        <p:nvSpPr>
          <p:cNvPr id="6" name="Text Placeholder 15"/>
          <p:cNvSpPr>
            <a:spLocks noGrp="1"/>
          </p:cNvSpPr>
          <p:nvPr>
            <p:ph type="body" sz="quarter" idx="17"/>
          </p:nvPr>
        </p:nvSpPr>
        <p:spPr>
          <a:xfrm>
            <a:off x="539750" y="5076230"/>
            <a:ext cx="3583772" cy="360263"/>
          </a:xfrm>
        </p:spPr>
        <p:txBody>
          <a:bodyPr>
            <a:noAutofit/>
          </a:bodyPr>
          <a:lstStyle>
            <a:lvl1pPr>
              <a:defRPr sz="1600"/>
            </a:lvl1pPr>
          </a:lstStyle>
          <a:p>
            <a:pPr lvl="0"/>
            <a:r>
              <a:rPr lang="en-US"/>
              <a:t>Edit Master text styles</a:t>
            </a:r>
          </a:p>
        </p:txBody>
      </p:sp>
      <p:sp>
        <p:nvSpPr>
          <p:cNvPr id="7" name="Text Placeholder 15"/>
          <p:cNvSpPr>
            <a:spLocks noGrp="1"/>
          </p:cNvSpPr>
          <p:nvPr>
            <p:ph type="body" sz="quarter" idx="18"/>
          </p:nvPr>
        </p:nvSpPr>
        <p:spPr>
          <a:xfrm>
            <a:off x="4288249" y="5076230"/>
            <a:ext cx="3599870" cy="360263"/>
          </a:xfrm>
        </p:spPr>
        <p:txBody>
          <a:bodyPr>
            <a:noAutofit/>
          </a:bodyPr>
          <a:lstStyle>
            <a:lvl1pPr>
              <a:defRPr sz="1600"/>
            </a:lvl1pPr>
          </a:lstStyle>
          <a:p>
            <a:pPr lvl="0"/>
            <a:r>
              <a:rPr lang="en-US"/>
              <a:t>Edit Master text styles</a:t>
            </a:r>
          </a:p>
        </p:txBody>
      </p:sp>
      <p:sp>
        <p:nvSpPr>
          <p:cNvPr id="8" name="Text Placeholder 15"/>
          <p:cNvSpPr>
            <a:spLocks noGrp="1"/>
          </p:cNvSpPr>
          <p:nvPr>
            <p:ph type="body" sz="quarter" idx="19"/>
          </p:nvPr>
        </p:nvSpPr>
        <p:spPr>
          <a:xfrm>
            <a:off x="8030153" y="5076230"/>
            <a:ext cx="3599872" cy="360263"/>
          </a:xfrm>
        </p:spPr>
        <p:txBody>
          <a:bodyPr>
            <a:noAutofit/>
          </a:bodyPr>
          <a:lstStyle>
            <a:lvl1pPr>
              <a:defRPr sz="1600"/>
            </a:lvl1pPr>
          </a:lstStyle>
          <a:p>
            <a:pPr lvl="0"/>
            <a:r>
              <a:rPr lang="en-US"/>
              <a:t>Edit Master text styles</a:t>
            </a:r>
          </a:p>
        </p:txBody>
      </p:sp>
      <p:sp>
        <p:nvSpPr>
          <p:cNvPr id="9" name="Picture Placeholder 28"/>
          <p:cNvSpPr>
            <a:spLocks noGrp="1"/>
          </p:cNvSpPr>
          <p:nvPr>
            <p:ph type="pic" sz="quarter" idx="20"/>
          </p:nvPr>
        </p:nvSpPr>
        <p:spPr>
          <a:xfrm>
            <a:off x="562442" y="1683112"/>
            <a:ext cx="3583772" cy="3177316"/>
          </a:xfrm>
          <a:custGeom>
            <a:avLst/>
            <a:gdLst>
              <a:gd name="connsiteX0" fmla="*/ 0 w 3444875"/>
              <a:gd name="connsiteY0" fmla="*/ 3149699 h 3149699"/>
              <a:gd name="connsiteX1" fmla="*/ 787425 w 3444875"/>
              <a:gd name="connsiteY1" fmla="*/ 0 h 3149699"/>
              <a:gd name="connsiteX2" fmla="*/ 3444875 w 3444875"/>
              <a:gd name="connsiteY2" fmla="*/ 0 h 3149699"/>
              <a:gd name="connsiteX3" fmla="*/ 2657450 w 3444875"/>
              <a:gd name="connsiteY3" fmla="*/ 3149699 h 3149699"/>
              <a:gd name="connsiteX4" fmla="*/ 0 w 3444875"/>
              <a:gd name="connsiteY4" fmla="*/ 3149699 h 3149699"/>
              <a:gd name="connsiteX0" fmla="*/ 0 w 3444875"/>
              <a:gd name="connsiteY0" fmla="*/ 3149699 h 3161274"/>
              <a:gd name="connsiteX1" fmla="*/ 787425 w 3444875"/>
              <a:gd name="connsiteY1" fmla="*/ 0 h 3161274"/>
              <a:gd name="connsiteX2" fmla="*/ 3444875 w 3444875"/>
              <a:gd name="connsiteY2" fmla="*/ 0 h 3161274"/>
              <a:gd name="connsiteX3" fmla="*/ 3375081 w 3444875"/>
              <a:gd name="connsiteY3" fmla="*/ 3161274 h 3161274"/>
              <a:gd name="connsiteX4" fmla="*/ 0 w 3444875"/>
              <a:gd name="connsiteY4" fmla="*/ 3149699 h 3161274"/>
              <a:gd name="connsiteX0" fmla="*/ 0 w 3444875"/>
              <a:gd name="connsiteY0" fmla="*/ 3149699 h 3161274"/>
              <a:gd name="connsiteX1" fmla="*/ 787425 w 3444875"/>
              <a:gd name="connsiteY1" fmla="*/ 0 h 3161274"/>
              <a:gd name="connsiteX2" fmla="*/ 3444875 w 3444875"/>
              <a:gd name="connsiteY2" fmla="*/ 0 h 3161274"/>
              <a:gd name="connsiteX3" fmla="*/ 3432955 w 3444875"/>
              <a:gd name="connsiteY3" fmla="*/ 3161274 h 3161274"/>
              <a:gd name="connsiteX4" fmla="*/ 0 w 3444875"/>
              <a:gd name="connsiteY4" fmla="*/ 3149699 h 3161274"/>
              <a:gd name="connsiteX0" fmla="*/ 0 w 3583772"/>
              <a:gd name="connsiteY0" fmla="*/ 3161274 h 3161274"/>
              <a:gd name="connsiteX1" fmla="*/ 926322 w 3583772"/>
              <a:gd name="connsiteY1" fmla="*/ 0 h 3161274"/>
              <a:gd name="connsiteX2" fmla="*/ 3583772 w 3583772"/>
              <a:gd name="connsiteY2" fmla="*/ 0 h 3161274"/>
              <a:gd name="connsiteX3" fmla="*/ 3571852 w 3583772"/>
              <a:gd name="connsiteY3" fmla="*/ 3161274 h 3161274"/>
              <a:gd name="connsiteX4" fmla="*/ 0 w 3583772"/>
              <a:gd name="connsiteY4" fmla="*/ 3161274 h 3161274"/>
              <a:gd name="connsiteX0" fmla="*/ 0 w 3583772"/>
              <a:gd name="connsiteY0" fmla="*/ 3161274 h 3161274"/>
              <a:gd name="connsiteX1" fmla="*/ 1030596 w 3583772"/>
              <a:gd name="connsiteY1" fmla="*/ 0 h 3161274"/>
              <a:gd name="connsiteX2" fmla="*/ 3583772 w 3583772"/>
              <a:gd name="connsiteY2" fmla="*/ 0 h 3161274"/>
              <a:gd name="connsiteX3" fmla="*/ 3571852 w 3583772"/>
              <a:gd name="connsiteY3" fmla="*/ 3161274 h 3161274"/>
              <a:gd name="connsiteX4" fmla="*/ 0 w 3583772"/>
              <a:gd name="connsiteY4" fmla="*/ 3161274 h 3161274"/>
              <a:gd name="connsiteX0" fmla="*/ 0 w 3583772"/>
              <a:gd name="connsiteY0" fmla="*/ 3177316 h 3177316"/>
              <a:gd name="connsiteX1" fmla="*/ 1062680 w 3583772"/>
              <a:gd name="connsiteY1" fmla="*/ 0 h 3177316"/>
              <a:gd name="connsiteX2" fmla="*/ 3583772 w 3583772"/>
              <a:gd name="connsiteY2" fmla="*/ 16042 h 3177316"/>
              <a:gd name="connsiteX3" fmla="*/ 3571852 w 3583772"/>
              <a:gd name="connsiteY3" fmla="*/ 3177316 h 3177316"/>
              <a:gd name="connsiteX4" fmla="*/ 0 w 3583772"/>
              <a:gd name="connsiteY4" fmla="*/ 3177316 h 3177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3772" h="3177316">
                <a:moveTo>
                  <a:pt x="0" y="3177316"/>
                </a:moveTo>
                <a:lnTo>
                  <a:pt x="1062680" y="0"/>
                </a:lnTo>
                <a:lnTo>
                  <a:pt x="3583772" y="16042"/>
                </a:lnTo>
                <a:cubicBezTo>
                  <a:pt x="3579799" y="1069800"/>
                  <a:pt x="3575825" y="2123558"/>
                  <a:pt x="3571852" y="3177316"/>
                </a:cubicBezTo>
                <a:lnTo>
                  <a:pt x="0" y="3177316"/>
                </a:lnTo>
                <a:close/>
              </a:path>
            </a:pathLst>
          </a:custGeom>
          <a:noFill/>
        </p:spPr>
        <p:txBody>
          <a:bodyPr/>
          <a:lstStyle/>
          <a:p>
            <a:endParaRPr lang="fr-FR"/>
          </a:p>
        </p:txBody>
      </p:sp>
      <p:sp>
        <p:nvSpPr>
          <p:cNvPr id="11"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pic>
        <p:nvPicPr>
          <p:cNvPr id="12" name="Picture 11">
            <a:extLst>
              <a:ext uri="{FF2B5EF4-FFF2-40B4-BE49-F238E27FC236}">
                <a16:creationId xmlns:a16="http://schemas.microsoft.com/office/drawing/2014/main" id="{7265A276-E0C9-41CF-9573-D3228C6D698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Tree>
    <p:extLst>
      <p:ext uri="{BB962C8B-B14F-4D97-AF65-F5344CB8AC3E}">
        <p14:creationId xmlns:p14="http://schemas.microsoft.com/office/powerpoint/2010/main" val="109483146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hapter pa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0165" y="1908101"/>
            <a:ext cx="10589444" cy="995809"/>
          </a:xfrm>
        </p:spPr>
        <p:txBody>
          <a:bodyPr>
            <a:noAutofit/>
          </a:bodyPr>
          <a:lstStyle>
            <a:lvl1pPr algn="ctr">
              <a:defRPr sz="4000">
                <a:solidFill>
                  <a:schemeClr val="bg2"/>
                </a:solidFill>
              </a:defRPr>
            </a:lvl1pPr>
          </a:lstStyle>
          <a:p>
            <a:r>
              <a:rPr lang="en-US"/>
              <a:t>Click to edit Master title sty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
        <p:nvSpPr>
          <p:cNvPr id="7"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124579556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ue fifth element with picture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8B57492-A1DF-4E96-AC19-E82F25ADCE3D}"/>
              </a:ext>
            </a:extLst>
          </p:cNvPr>
          <p:cNvSpPr/>
          <p:nvPr userDrawn="1"/>
        </p:nvSpPr>
        <p:spPr>
          <a:xfrm>
            <a:off x="-14939" y="-9627"/>
            <a:ext cx="6099827" cy="6853029"/>
          </a:xfrm>
          <a:custGeom>
            <a:avLst/>
            <a:gdLst>
              <a:gd name="connsiteX0" fmla="*/ 0 w 5580063"/>
              <a:gd name="connsiteY0" fmla="*/ 0 h 6851424"/>
              <a:gd name="connsiteX1" fmla="*/ 5580063 w 5580063"/>
              <a:gd name="connsiteY1" fmla="*/ 0 h 6851424"/>
              <a:gd name="connsiteX2" fmla="*/ 5580063 w 5580063"/>
              <a:gd name="connsiteY2" fmla="*/ 6851424 h 6851424"/>
              <a:gd name="connsiteX3" fmla="*/ 0 w 5580063"/>
              <a:gd name="connsiteY3" fmla="*/ 6851424 h 6851424"/>
              <a:gd name="connsiteX4" fmla="*/ 0 w 5580063"/>
              <a:gd name="connsiteY4" fmla="*/ 0 h 6851424"/>
              <a:gd name="connsiteX0" fmla="*/ 0 w 5580063"/>
              <a:gd name="connsiteY0" fmla="*/ 0 h 6861934"/>
              <a:gd name="connsiteX1" fmla="*/ 5580063 w 5580063"/>
              <a:gd name="connsiteY1" fmla="*/ 0 h 6861934"/>
              <a:gd name="connsiteX2" fmla="*/ 3898408 w 5580063"/>
              <a:gd name="connsiteY2" fmla="*/ 6861934 h 6861934"/>
              <a:gd name="connsiteX3" fmla="*/ 0 w 5580063"/>
              <a:gd name="connsiteY3" fmla="*/ 6851424 h 6861934"/>
              <a:gd name="connsiteX4" fmla="*/ 0 w 5580063"/>
              <a:gd name="connsiteY4" fmla="*/ 0 h 6861934"/>
              <a:gd name="connsiteX0" fmla="*/ 0 w 5580063"/>
              <a:gd name="connsiteY0" fmla="*/ 0 h 6851424"/>
              <a:gd name="connsiteX1" fmla="*/ 5580063 w 5580063"/>
              <a:gd name="connsiteY1" fmla="*/ 0 h 6851424"/>
              <a:gd name="connsiteX2" fmla="*/ 3057580 w 5580063"/>
              <a:gd name="connsiteY2" fmla="*/ 6851424 h 6851424"/>
              <a:gd name="connsiteX3" fmla="*/ 0 w 5580063"/>
              <a:gd name="connsiteY3" fmla="*/ 6851424 h 6851424"/>
              <a:gd name="connsiteX4" fmla="*/ 0 w 5580063"/>
              <a:gd name="connsiteY4" fmla="*/ 0 h 6851424"/>
              <a:gd name="connsiteX0" fmla="*/ 0 w 5580063"/>
              <a:gd name="connsiteY0" fmla="*/ 0 h 6851424"/>
              <a:gd name="connsiteX1" fmla="*/ 5580063 w 5580063"/>
              <a:gd name="connsiteY1" fmla="*/ 0 h 6851424"/>
              <a:gd name="connsiteX2" fmla="*/ 3404422 w 5580063"/>
              <a:gd name="connsiteY2" fmla="*/ 6851424 h 6851424"/>
              <a:gd name="connsiteX3" fmla="*/ 0 w 5580063"/>
              <a:gd name="connsiteY3" fmla="*/ 6851424 h 6851424"/>
              <a:gd name="connsiteX4" fmla="*/ 0 w 5580063"/>
              <a:gd name="connsiteY4" fmla="*/ 0 h 6851424"/>
              <a:gd name="connsiteX0" fmla="*/ 0 w 5580063"/>
              <a:gd name="connsiteY0" fmla="*/ 0 h 6851424"/>
              <a:gd name="connsiteX1" fmla="*/ 5580063 w 5580063"/>
              <a:gd name="connsiteY1" fmla="*/ 0 h 6851424"/>
              <a:gd name="connsiteX2" fmla="*/ 3300149 w 5580063"/>
              <a:gd name="connsiteY2" fmla="*/ 6835382 h 6851424"/>
              <a:gd name="connsiteX3" fmla="*/ 0 w 5580063"/>
              <a:gd name="connsiteY3" fmla="*/ 6851424 h 6851424"/>
              <a:gd name="connsiteX4" fmla="*/ 0 w 5580063"/>
              <a:gd name="connsiteY4" fmla="*/ 0 h 6851424"/>
              <a:gd name="connsiteX0" fmla="*/ 0 w 5580063"/>
              <a:gd name="connsiteY0" fmla="*/ 0 h 6851424"/>
              <a:gd name="connsiteX1" fmla="*/ 5580063 w 5580063"/>
              <a:gd name="connsiteY1" fmla="*/ 0 h 6851424"/>
              <a:gd name="connsiteX2" fmla="*/ 3300149 w 5580063"/>
              <a:gd name="connsiteY2" fmla="*/ 6843403 h 6851424"/>
              <a:gd name="connsiteX3" fmla="*/ 0 w 5580063"/>
              <a:gd name="connsiteY3" fmla="*/ 6851424 h 6851424"/>
              <a:gd name="connsiteX4" fmla="*/ 0 w 5580063"/>
              <a:gd name="connsiteY4" fmla="*/ 0 h 6851424"/>
              <a:gd name="connsiteX0" fmla="*/ 0 w 5580063"/>
              <a:gd name="connsiteY0" fmla="*/ 0 h 7108098"/>
              <a:gd name="connsiteX1" fmla="*/ 5580063 w 5580063"/>
              <a:gd name="connsiteY1" fmla="*/ 0 h 7108098"/>
              <a:gd name="connsiteX2" fmla="*/ 2714612 w 5580063"/>
              <a:gd name="connsiteY2" fmla="*/ 7108098 h 7108098"/>
              <a:gd name="connsiteX3" fmla="*/ 0 w 5580063"/>
              <a:gd name="connsiteY3" fmla="*/ 6851424 h 7108098"/>
              <a:gd name="connsiteX4" fmla="*/ 0 w 5580063"/>
              <a:gd name="connsiteY4" fmla="*/ 0 h 7108098"/>
              <a:gd name="connsiteX0" fmla="*/ 0 w 5580063"/>
              <a:gd name="connsiteY0" fmla="*/ 0 h 6851424"/>
              <a:gd name="connsiteX1" fmla="*/ 5580063 w 5580063"/>
              <a:gd name="connsiteY1" fmla="*/ 0 h 6851424"/>
              <a:gd name="connsiteX2" fmla="*/ 3300149 w 5580063"/>
              <a:gd name="connsiteY2" fmla="*/ 6843403 h 6851424"/>
              <a:gd name="connsiteX3" fmla="*/ 0 w 5580063"/>
              <a:gd name="connsiteY3" fmla="*/ 6851424 h 6851424"/>
              <a:gd name="connsiteX4" fmla="*/ 0 w 5580063"/>
              <a:gd name="connsiteY4" fmla="*/ 0 h 6851424"/>
              <a:gd name="connsiteX0" fmla="*/ 0 w 5734067"/>
              <a:gd name="connsiteY0" fmla="*/ 0 h 6861050"/>
              <a:gd name="connsiteX1" fmla="*/ 5734067 w 5734067"/>
              <a:gd name="connsiteY1" fmla="*/ 9626 h 6861050"/>
              <a:gd name="connsiteX2" fmla="*/ 3454153 w 5734067"/>
              <a:gd name="connsiteY2" fmla="*/ 6853029 h 6861050"/>
              <a:gd name="connsiteX3" fmla="*/ 154004 w 5734067"/>
              <a:gd name="connsiteY3" fmla="*/ 6861050 h 6861050"/>
              <a:gd name="connsiteX4" fmla="*/ 0 w 5734067"/>
              <a:gd name="connsiteY4" fmla="*/ 0 h 6861050"/>
              <a:gd name="connsiteX0" fmla="*/ 0 w 5734067"/>
              <a:gd name="connsiteY0" fmla="*/ 0 h 6861050"/>
              <a:gd name="connsiteX1" fmla="*/ 5734067 w 5734067"/>
              <a:gd name="connsiteY1" fmla="*/ 9626 h 6861050"/>
              <a:gd name="connsiteX2" fmla="*/ 3454153 w 5734067"/>
              <a:gd name="connsiteY2" fmla="*/ 6853029 h 6861050"/>
              <a:gd name="connsiteX3" fmla="*/ 0 w 5734067"/>
              <a:gd name="connsiteY3" fmla="*/ 6861050 h 6861050"/>
              <a:gd name="connsiteX4" fmla="*/ 0 w 5734067"/>
              <a:gd name="connsiteY4" fmla="*/ 0 h 6861050"/>
              <a:gd name="connsiteX0" fmla="*/ 0 w 5734067"/>
              <a:gd name="connsiteY0" fmla="*/ 0 h 6853029"/>
              <a:gd name="connsiteX1" fmla="*/ 5734067 w 5734067"/>
              <a:gd name="connsiteY1" fmla="*/ 9626 h 6853029"/>
              <a:gd name="connsiteX2" fmla="*/ 3454153 w 5734067"/>
              <a:gd name="connsiteY2" fmla="*/ 6853029 h 6853029"/>
              <a:gd name="connsiteX3" fmla="*/ 298383 w 5734067"/>
              <a:gd name="connsiteY3" fmla="*/ 6466414 h 6853029"/>
              <a:gd name="connsiteX4" fmla="*/ 0 w 5734067"/>
              <a:gd name="connsiteY4" fmla="*/ 0 h 6853029"/>
              <a:gd name="connsiteX0" fmla="*/ 0 w 5734067"/>
              <a:gd name="connsiteY0" fmla="*/ 0 h 6853029"/>
              <a:gd name="connsiteX1" fmla="*/ 5734067 w 5734067"/>
              <a:gd name="connsiteY1" fmla="*/ 9626 h 6853029"/>
              <a:gd name="connsiteX2" fmla="*/ 3454153 w 5734067"/>
              <a:gd name="connsiteY2" fmla="*/ 6853029 h 6853029"/>
              <a:gd name="connsiteX3" fmla="*/ 9625 w 5734067"/>
              <a:gd name="connsiteY3" fmla="*/ 6851425 h 6853029"/>
              <a:gd name="connsiteX4" fmla="*/ 0 w 5734067"/>
              <a:gd name="connsiteY4" fmla="*/ 0 h 6853029"/>
              <a:gd name="connsiteX0" fmla="*/ 0 w 6099827"/>
              <a:gd name="connsiteY0" fmla="*/ 0 h 6853029"/>
              <a:gd name="connsiteX1" fmla="*/ 6099827 w 6099827"/>
              <a:gd name="connsiteY1" fmla="*/ 9626 h 6853029"/>
              <a:gd name="connsiteX2" fmla="*/ 3819913 w 6099827"/>
              <a:gd name="connsiteY2" fmla="*/ 6853029 h 6853029"/>
              <a:gd name="connsiteX3" fmla="*/ 375385 w 6099827"/>
              <a:gd name="connsiteY3" fmla="*/ 6851425 h 6853029"/>
              <a:gd name="connsiteX4" fmla="*/ 0 w 6099827"/>
              <a:gd name="connsiteY4" fmla="*/ 0 h 6853029"/>
              <a:gd name="connsiteX0" fmla="*/ 0 w 6099827"/>
              <a:gd name="connsiteY0" fmla="*/ 0 h 6853029"/>
              <a:gd name="connsiteX1" fmla="*/ 6099827 w 6099827"/>
              <a:gd name="connsiteY1" fmla="*/ 9626 h 6853029"/>
              <a:gd name="connsiteX2" fmla="*/ 3819913 w 6099827"/>
              <a:gd name="connsiteY2" fmla="*/ 6853029 h 6853029"/>
              <a:gd name="connsiteX3" fmla="*/ 9625 w 6099827"/>
              <a:gd name="connsiteY3" fmla="*/ 6841799 h 6853029"/>
              <a:gd name="connsiteX4" fmla="*/ 0 w 6099827"/>
              <a:gd name="connsiteY4" fmla="*/ 0 h 6853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827" h="6853029">
                <a:moveTo>
                  <a:pt x="0" y="0"/>
                </a:moveTo>
                <a:lnTo>
                  <a:pt x="6099827" y="9626"/>
                </a:lnTo>
                <a:lnTo>
                  <a:pt x="3819913" y="6853029"/>
                </a:lnTo>
                <a:lnTo>
                  <a:pt x="9625" y="6841799"/>
                </a:lnTo>
                <a:cubicBezTo>
                  <a:pt x="6417" y="4557991"/>
                  <a:pt x="3208" y="2283808"/>
                  <a:pt x="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9" name="Picture 8">
            <a:extLst>
              <a:ext uri="{FF2B5EF4-FFF2-40B4-BE49-F238E27FC236}">
                <a16:creationId xmlns:a16="http://schemas.microsoft.com/office/drawing/2014/main" id="{8793E735-61BB-4E89-AE53-0D73BFF0209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12" name="Title 1">
            <a:extLst>
              <a:ext uri="{FF2B5EF4-FFF2-40B4-BE49-F238E27FC236}">
                <a16:creationId xmlns:a16="http://schemas.microsoft.com/office/drawing/2014/main" id="{324132B0-42DE-4393-87CC-00E1B0AD21EF}"/>
              </a:ext>
            </a:extLst>
          </p:cNvPr>
          <p:cNvSpPr>
            <a:spLocks noGrp="1"/>
          </p:cNvSpPr>
          <p:nvPr>
            <p:ph type="title"/>
          </p:nvPr>
        </p:nvSpPr>
        <p:spPr>
          <a:xfrm>
            <a:off x="539750" y="399362"/>
            <a:ext cx="4248993" cy="1139825"/>
          </a:xfrm>
        </p:spPr>
        <p:txBody>
          <a:bodyPr/>
          <a:lstStyle>
            <a:lvl1pPr>
              <a:defRPr>
                <a:solidFill>
                  <a:schemeClr val="bg2"/>
                </a:solidFill>
              </a:defRPr>
            </a:lvl1pPr>
          </a:lstStyle>
          <a:p>
            <a:r>
              <a:rPr lang="en-US"/>
              <a:t>Click to edit Master title style</a:t>
            </a:r>
            <a:endParaRPr lang="sv-SE"/>
          </a:p>
        </p:txBody>
      </p:sp>
      <p:sp>
        <p:nvSpPr>
          <p:cNvPr id="13" name="Text Placeholder 6">
            <a:extLst>
              <a:ext uri="{FF2B5EF4-FFF2-40B4-BE49-F238E27FC236}">
                <a16:creationId xmlns:a16="http://schemas.microsoft.com/office/drawing/2014/main" id="{25D070B2-C554-43E5-88F5-599106F7B893}"/>
              </a:ext>
            </a:extLst>
          </p:cNvPr>
          <p:cNvSpPr>
            <a:spLocks noGrp="1"/>
          </p:cNvSpPr>
          <p:nvPr>
            <p:ph type="body" sz="quarter" idx="13"/>
          </p:nvPr>
        </p:nvSpPr>
        <p:spPr>
          <a:xfrm>
            <a:off x="540271" y="1623499"/>
            <a:ext cx="4248472" cy="3096344"/>
          </a:xfrm>
        </p:spPr>
        <p:txBody>
          <a:bodyPr/>
          <a:lstStyle>
            <a:lvl1pPr>
              <a:defRPr>
                <a:solidFill>
                  <a:schemeClr val="bg2"/>
                </a:solidFill>
              </a:defRPr>
            </a:lvl1pPr>
            <a:lvl2pPr marL="174625" indent="-174625">
              <a:defRPr b="0">
                <a:solidFill>
                  <a:schemeClr val="bg2"/>
                </a:solidFill>
              </a:defRPr>
            </a:lvl2pPr>
            <a:lvl3pPr marL="446088" indent="-182563">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laceholder 5">
            <a:extLst>
              <a:ext uri="{FF2B5EF4-FFF2-40B4-BE49-F238E27FC236}">
                <a16:creationId xmlns:a16="http://schemas.microsoft.com/office/drawing/2014/main" id="{5195999A-453B-4589-BDE4-5E44A837CB34}"/>
              </a:ext>
            </a:extLst>
          </p:cNvPr>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rtl="0" fontAlgn="base">
              <a:spcBef>
                <a:spcPct val="0"/>
              </a:spcBef>
              <a:spcAft>
                <a:spcPct val="0"/>
              </a:spcAft>
              <a:defRPr lang="en-GB" sz="1000" kern="1200" smtClean="0">
                <a:solidFill>
                  <a:schemeClr val="bg1"/>
                </a:solidFill>
                <a:latin typeface="Arial" pitchFamily="34" charset="0"/>
                <a:ea typeface="+mn-ea"/>
                <a:cs typeface="Arial" pitchFamily="34" charset="0"/>
              </a:defRPr>
            </a:lvl1pPr>
          </a:lstStyle>
          <a:p>
            <a:fld id="{C864BB8D-94B4-466C-94BF-D114C83BF951}" type="slidenum">
              <a:rPr lang="sv-SE" smtClean="0"/>
              <a:pPr/>
              <a:t>‹#›</a:t>
            </a:fld>
            <a:endParaRPr lang="sv-SE"/>
          </a:p>
        </p:txBody>
      </p:sp>
      <p:sp>
        <p:nvSpPr>
          <p:cNvPr id="15" name="Footer Placeholder 3">
            <a:extLst>
              <a:ext uri="{FF2B5EF4-FFF2-40B4-BE49-F238E27FC236}">
                <a16:creationId xmlns:a16="http://schemas.microsoft.com/office/drawing/2014/main" id="{E80D1143-1255-4380-B644-73BF4291E6EB}"/>
              </a:ext>
            </a:extLst>
          </p:cNvPr>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291551055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ransparent Blue fifth element with picture background">
    <p:spTree>
      <p:nvGrpSpPr>
        <p:cNvPr id="1" name=""/>
        <p:cNvGrpSpPr/>
        <p:nvPr/>
      </p:nvGrpSpPr>
      <p:grpSpPr>
        <a:xfrm>
          <a:off x="0" y="0"/>
          <a:ext cx="0" cy="0"/>
          <a:chOff x="0" y="0"/>
          <a:chExt cx="0" cy="0"/>
        </a:xfrm>
      </p:grpSpPr>
      <p:sp>
        <p:nvSpPr>
          <p:cNvPr id="16" name="Rectangle 6">
            <a:extLst>
              <a:ext uri="{FF2B5EF4-FFF2-40B4-BE49-F238E27FC236}">
                <a16:creationId xmlns:a16="http://schemas.microsoft.com/office/drawing/2014/main" id="{FB06032D-A0B6-4EC8-9968-DE2A9EC1DAEF}"/>
              </a:ext>
            </a:extLst>
          </p:cNvPr>
          <p:cNvSpPr/>
          <p:nvPr userDrawn="1"/>
        </p:nvSpPr>
        <p:spPr>
          <a:xfrm>
            <a:off x="-14939" y="-9627"/>
            <a:ext cx="6099827" cy="6853029"/>
          </a:xfrm>
          <a:custGeom>
            <a:avLst/>
            <a:gdLst>
              <a:gd name="connsiteX0" fmla="*/ 0 w 5580063"/>
              <a:gd name="connsiteY0" fmla="*/ 0 h 6851424"/>
              <a:gd name="connsiteX1" fmla="*/ 5580063 w 5580063"/>
              <a:gd name="connsiteY1" fmla="*/ 0 h 6851424"/>
              <a:gd name="connsiteX2" fmla="*/ 5580063 w 5580063"/>
              <a:gd name="connsiteY2" fmla="*/ 6851424 h 6851424"/>
              <a:gd name="connsiteX3" fmla="*/ 0 w 5580063"/>
              <a:gd name="connsiteY3" fmla="*/ 6851424 h 6851424"/>
              <a:gd name="connsiteX4" fmla="*/ 0 w 5580063"/>
              <a:gd name="connsiteY4" fmla="*/ 0 h 6851424"/>
              <a:gd name="connsiteX0" fmla="*/ 0 w 5580063"/>
              <a:gd name="connsiteY0" fmla="*/ 0 h 6861934"/>
              <a:gd name="connsiteX1" fmla="*/ 5580063 w 5580063"/>
              <a:gd name="connsiteY1" fmla="*/ 0 h 6861934"/>
              <a:gd name="connsiteX2" fmla="*/ 3898408 w 5580063"/>
              <a:gd name="connsiteY2" fmla="*/ 6861934 h 6861934"/>
              <a:gd name="connsiteX3" fmla="*/ 0 w 5580063"/>
              <a:gd name="connsiteY3" fmla="*/ 6851424 h 6861934"/>
              <a:gd name="connsiteX4" fmla="*/ 0 w 5580063"/>
              <a:gd name="connsiteY4" fmla="*/ 0 h 6861934"/>
              <a:gd name="connsiteX0" fmla="*/ 0 w 5580063"/>
              <a:gd name="connsiteY0" fmla="*/ 0 h 6851424"/>
              <a:gd name="connsiteX1" fmla="*/ 5580063 w 5580063"/>
              <a:gd name="connsiteY1" fmla="*/ 0 h 6851424"/>
              <a:gd name="connsiteX2" fmla="*/ 3057580 w 5580063"/>
              <a:gd name="connsiteY2" fmla="*/ 6851424 h 6851424"/>
              <a:gd name="connsiteX3" fmla="*/ 0 w 5580063"/>
              <a:gd name="connsiteY3" fmla="*/ 6851424 h 6851424"/>
              <a:gd name="connsiteX4" fmla="*/ 0 w 5580063"/>
              <a:gd name="connsiteY4" fmla="*/ 0 h 6851424"/>
              <a:gd name="connsiteX0" fmla="*/ 0 w 5580063"/>
              <a:gd name="connsiteY0" fmla="*/ 0 h 6851424"/>
              <a:gd name="connsiteX1" fmla="*/ 5580063 w 5580063"/>
              <a:gd name="connsiteY1" fmla="*/ 0 h 6851424"/>
              <a:gd name="connsiteX2" fmla="*/ 3404422 w 5580063"/>
              <a:gd name="connsiteY2" fmla="*/ 6851424 h 6851424"/>
              <a:gd name="connsiteX3" fmla="*/ 0 w 5580063"/>
              <a:gd name="connsiteY3" fmla="*/ 6851424 h 6851424"/>
              <a:gd name="connsiteX4" fmla="*/ 0 w 5580063"/>
              <a:gd name="connsiteY4" fmla="*/ 0 h 6851424"/>
              <a:gd name="connsiteX0" fmla="*/ 0 w 5580063"/>
              <a:gd name="connsiteY0" fmla="*/ 0 h 6851424"/>
              <a:gd name="connsiteX1" fmla="*/ 5580063 w 5580063"/>
              <a:gd name="connsiteY1" fmla="*/ 0 h 6851424"/>
              <a:gd name="connsiteX2" fmla="*/ 3300149 w 5580063"/>
              <a:gd name="connsiteY2" fmla="*/ 6835382 h 6851424"/>
              <a:gd name="connsiteX3" fmla="*/ 0 w 5580063"/>
              <a:gd name="connsiteY3" fmla="*/ 6851424 h 6851424"/>
              <a:gd name="connsiteX4" fmla="*/ 0 w 5580063"/>
              <a:gd name="connsiteY4" fmla="*/ 0 h 6851424"/>
              <a:gd name="connsiteX0" fmla="*/ 0 w 5580063"/>
              <a:gd name="connsiteY0" fmla="*/ 0 h 6851424"/>
              <a:gd name="connsiteX1" fmla="*/ 5580063 w 5580063"/>
              <a:gd name="connsiteY1" fmla="*/ 0 h 6851424"/>
              <a:gd name="connsiteX2" fmla="*/ 3300149 w 5580063"/>
              <a:gd name="connsiteY2" fmla="*/ 6843403 h 6851424"/>
              <a:gd name="connsiteX3" fmla="*/ 0 w 5580063"/>
              <a:gd name="connsiteY3" fmla="*/ 6851424 h 6851424"/>
              <a:gd name="connsiteX4" fmla="*/ 0 w 5580063"/>
              <a:gd name="connsiteY4" fmla="*/ 0 h 6851424"/>
              <a:gd name="connsiteX0" fmla="*/ 0 w 5580063"/>
              <a:gd name="connsiteY0" fmla="*/ 0 h 7108098"/>
              <a:gd name="connsiteX1" fmla="*/ 5580063 w 5580063"/>
              <a:gd name="connsiteY1" fmla="*/ 0 h 7108098"/>
              <a:gd name="connsiteX2" fmla="*/ 2714612 w 5580063"/>
              <a:gd name="connsiteY2" fmla="*/ 7108098 h 7108098"/>
              <a:gd name="connsiteX3" fmla="*/ 0 w 5580063"/>
              <a:gd name="connsiteY3" fmla="*/ 6851424 h 7108098"/>
              <a:gd name="connsiteX4" fmla="*/ 0 w 5580063"/>
              <a:gd name="connsiteY4" fmla="*/ 0 h 7108098"/>
              <a:gd name="connsiteX0" fmla="*/ 0 w 5580063"/>
              <a:gd name="connsiteY0" fmla="*/ 0 h 6851424"/>
              <a:gd name="connsiteX1" fmla="*/ 5580063 w 5580063"/>
              <a:gd name="connsiteY1" fmla="*/ 0 h 6851424"/>
              <a:gd name="connsiteX2" fmla="*/ 3300149 w 5580063"/>
              <a:gd name="connsiteY2" fmla="*/ 6843403 h 6851424"/>
              <a:gd name="connsiteX3" fmla="*/ 0 w 5580063"/>
              <a:gd name="connsiteY3" fmla="*/ 6851424 h 6851424"/>
              <a:gd name="connsiteX4" fmla="*/ 0 w 5580063"/>
              <a:gd name="connsiteY4" fmla="*/ 0 h 6851424"/>
              <a:gd name="connsiteX0" fmla="*/ 0 w 5734067"/>
              <a:gd name="connsiteY0" fmla="*/ 0 h 6861050"/>
              <a:gd name="connsiteX1" fmla="*/ 5734067 w 5734067"/>
              <a:gd name="connsiteY1" fmla="*/ 9626 h 6861050"/>
              <a:gd name="connsiteX2" fmla="*/ 3454153 w 5734067"/>
              <a:gd name="connsiteY2" fmla="*/ 6853029 h 6861050"/>
              <a:gd name="connsiteX3" fmla="*/ 154004 w 5734067"/>
              <a:gd name="connsiteY3" fmla="*/ 6861050 h 6861050"/>
              <a:gd name="connsiteX4" fmla="*/ 0 w 5734067"/>
              <a:gd name="connsiteY4" fmla="*/ 0 h 6861050"/>
              <a:gd name="connsiteX0" fmla="*/ 0 w 5734067"/>
              <a:gd name="connsiteY0" fmla="*/ 0 h 6861050"/>
              <a:gd name="connsiteX1" fmla="*/ 5734067 w 5734067"/>
              <a:gd name="connsiteY1" fmla="*/ 9626 h 6861050"/>
              <a:gd name="connsiteX2" fmla="*/ 3454153 w 5734067"/>
              <a:gd name="connsiteY2" fmla="*/ 6853029 h 6861050"/>
              <a:gd name="connsiteX3" fmla="*/ 0 w 5734067"/>
              <a:gd name="connsiteY3" fmla="*/ 6861050 h 6861050"/>
              <a:gd name="connsiteX4" fmla="*/ 0 w 5734067"/>
              <a:gd name="connsiteY4" fmla="*/ 0 h 6861050"/>
              <a:gd name="connsiteX0" fmla="*/ 0 w 5734067"/>
              <a:gd name="connsiteY0" fmla="*/ 0 h 6853029"/>
              <a:gd name="connsiteX1" fmla="*/ 5734067 w 5734067"/>
              <a:gd name="connsiteY1" fmla="*/ 9626 h 6853029"/>
              <a:gd name="connsiteX2" fmla="*/ 3454153 w 5734067"/>
              <a:gd name="connsiteY2" fmla="*/ 6853029 h 6853029"/>
              <a:gd name="connsiteX3" fmla="*/ 298383 w 5734067"/>
              <a:gd name="connsiteY3" fmla="*/ 6466414 h 6853029"/>
              <a:gd name="connsiteX4" fmla="*/ 0 w 5734067"/>
              <a:gd name="connsiteY4" fmla="*/ 0 h 6853029"/>
              <a:gd name="connsiteX0" fmla="*/ 0 w 5734067"/>
              <a:gd name="connsiteY0" fmla="*/ 0 h 6853029"/>
              <a:gd name="connsiteX1" fmla="*/ 5734067 w 5734067"/>
              <a:gd name="connsiteY1" fmla="*/ 9626 h 6853029"/>
              <a:gd name="connsiteX2" fmla="*/ 3454153 w 5734067"/>
              <a:gd name="connsiteY2" fmla="*/ 6853029 h 6853029"/>
              <a:gd name="connsiteX3" fmla="*/ 9625 w 5734067"/>
              <a:gd name="connsiteY3" fmla="*/ 6851425 h 6853029"/>
              <a:gd name="connsiteX4" fmla="*/ 0 w 5734067"/>
              <a:gd name="connsiteY4" fmla="*/ 0 h 6853029"/>
              <a:gd name="connsiteX0" fmla="*/ 0 w 6099827"/>
              <a:gd name="connsiteY0" fmla="*/ 0 h 6853029"/>
              <a:gd name="connsiteX1" fmla="*/ 6099827 w 6099827"/>
              <a:gd name="connsiteY1" fmla="*/ 9626 h 6853029"/>
              <a:gd name="connsiteX2" fmla="*/ 3819913 w 6099827"/>
              <a:gd name="connsiteY2" fmla="*/ 6853029 h 6853029"/>
              <a:gd name="connsiteX3" fmla="*/ 375385 w 6099827"/>
              <a:gd name="connsiteY3" fmla="*/ 6851425 h 6853029"/>
              <a:gd name="connsiteX4" fmla="*/ 0 w 6099827"/>
              <a:gd name="connsiteY4" fmla="*/ 0 h 6853029"/>
              <a:gd name="connsiteX0" fmla="*/ 0 w 6099827"/>
              <a:gd name="connsiteY0" fmla="*/ 0 h 6853029"/>
              <a:gd name="connsiteX1" fmla="*/ 6099827 w 6099827"/>
              <a:gd name="connsiteY1" fmla="*/ 9626 h 6853029"/>
              <a:gd name="connsiteX2" fmla="*/ 3819913 w 6099827"/>
              <a:gd name="connsiteY2" fmla="*/ 6853029 h 6853029"/>
              <a:gd name="connsiteX3" fmla="*/ 9625 w 6099827"/>
              <a:gd name="connsiteY3" fmla="*/ 6841799 h 6853029"/>
              <a:gd name="connsiteX4" fmla="*/ 0 w 6099827"/>
              <a:gd name="connsiteY4" fmla="*/ 0 h 6853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827" h="6853029">
                <a:moveTo>
                  <a:pt x="0" y="0"/>
                </a:moveTo>
                <a:lnTo>
                  <a:pt x="6099827" y="9626"/>
                </a:lnTo>
                <a:lnTo>
                  <a:pt x="3819913" y="6853029"/>
                </a:lnTo>
                <a:lnTo>
                  <a:pt x="9625" y="6841799"/>
                </a:lnTo>
                <a:cubicBezTo>
                  <a:pt x="6417" y="4557991"/>
                  <a:pt x="3208" y="2283808"/>
                  <a:pt x="0" y="0"/>
                </a:cubicBezTo>
                <a:close/>
              </a:path>
            </a:pathLst>
          </a:cu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Title 1">
            <a:extLst>
              <a:ext uri="{FF2B5EF4-FFF2-40B4-BE49-F238E27FC236}">
                <a16:creationId xmlns:a16="http://schemas.microsoft.com/office/drawing/2014/main" id="{4293B211-4F44-43C2-85CD-47FB1192E34A}"/>
              </a:ext>
            </a:extLst>
          </p:cNvPr>
          <p:cNvSpPr>
            <a:spLocks noGrp="1"/>
          </p:cNvSpPr>
          <p:nvPr>
            <p:ph type="title" hasCustomPrompt="1"/>
          </p:nvPr>
        </p:nvSpPr>
        <p:spPr>
          <a:xfrm>
            <a:off x="539750" y="399362"/>
            <a:ext cx="4685036" cy="1139825"/>
          </a:xfrm>
        </p:spPr>
        <p:txBody>
          <a:bodyPr/>
          <a:lstStyle>
            <a:lvl1pPr>
              <a:defRPr b="0">
                <a:solidFill>
                  <a:schemeClr val="bg2"/>
                </a:solidFill>
              </a:defRPr>
            </a:lvl1pPr>
          </a:lstStyle>
          <a:p>
            <a:r>
              <a:rPr lang="en-US"/>
              <a:t>Transparence for full picture background</a:t>
            </a:r>
            <a:endParaRPr lang="sv-SE"/>
          </a:p>
        </p:txBody>
      </p:sp>
      <p:sp>
        <p:nvSpPr>
          <p:cNvPr id="18" name="Text Placeholder 6">
            <a:extLst>
              <a:ext uri="{FF2B5EF4-FFF2-40B4-BE49-F238E27FC236}">
                <a16:creationId xmlns:a16="http://schemas.microsoft.com/office/drawing/2014/main" id="{322C7983-B6E2-4875-92FC-21607D76CEA7}"/>
              </a:ext>
            </a:extLst>
          </p:cNvPr>
          <p:cNvSpPr>
            <a:spLocks noGrp="1"/>
          </p:cNvSpPr>
          <p:nvPr>
            <p:ph type="body" sz="quarter" idx="13"/>
          </p:nvPr>
        </p:nvSpPr>
        <p:spPr>
          <a:xfrm>
            <a:off x="540271" y="1623499"/>
            <a:ext cx="4248472" cy="3096344"/>
          </a:xfrm>
        </p:spPr>
        <p:txBody>
          <a:bodyPr/>
          <a:lstStyle>
            <a:lvl1pPr>
              <a:defRPr>
                <a:solidFill>
                  <a:schemeClr val="bg2"/>
                </a:solidFill>
              </a:defRPr>
            </a:lvl1pPr>
            <a:lvl2pPr marL="174625" indent="-174625">
              <a:defRPr b="0">
                <a:solidFill>
                  <a:schemeClr val="bg2"/>
                </a:solidFill>
              </a:defRPr>
            </a:lvl2pPr>
            <a:lvl3pPr marL="446088" indent="-182563">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8793E735-61BB-4E89-AE53-0D73BFF0209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14" name="Slide Number Placeholder 5">
            <a:extLst>
              <a:ext uri="{FF2B5EF4-FFF2-40B4-BE49-F238E27FC236}">
                <a16:creationId xmlns:a16="http://schemas.microsoft.com/office/drawing/2014/main" id="{5195999A-453B-4589-BDE4-5E44A837CB34}"/>
              </a:ext>
            </a:extLst>
          </p:cNvPr>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rtl="0" fontAlgn="base">
              <a:spcBef>
                <a:spcPct val="0"/>
              </a:spcBef>
              <a:spcAft>
                <a:spcPct val="0"/>
              </a:spcAft>
              <a:defRPr lang="en-GB" sz="1000" kern="1200" smtClean="0">
                <a:solidFill>
                  <a:schemeClr val="bg1"/>
                </a:solidFill>
                <a:latin typeface="Arial" pitchFamily="34" charset="0"/>
                <a:ea typeface="+mn-ea"/>
                <a:cs typeface="Arial" pitchFamily="34" charset="0"/>
              </a:defRPr>
            </a:lvl1pPr>
          </a:lstStyle>
          <a:p>
            <a:fld id="{C864BB8D-94B4-466C-94BF-D114C83BF951}" type="slidenum">
              <a:rPr lang="sv-SE" smtClean="0"/>
              <a:pPr/>
              <a:t>‹#›</a:t>
            </a:fld>
            <a:endParaRPr lang="sv-SE"/>
          </a:p>
        </p:txBody>
      </p:sp>
      <p:sp>
        <p:nvSpPr>
          <p:cNvPr id="15" name="Footer Placeholder 3">
            <a:extLst>
              <a:ext uri="{FF2B5EF4-FFF2-40B4-BE49-F238E27FC236}">
                <a16:creationId xmlns:a16="http://schemas.microsoft.com/office/drawing/2014/main" id="{E80D1143-1255-4380-B644-73BF4291E6EB}"/>
              </a:ext>
            </a:extLst>
          </p:cNvPr>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10680133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hapter pa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0165" y="1908101"/>
            <a:ext cx="10589444" cy="995809"/>
          </a:xfrm>
        </p:spPr>
        <p:txBody>
          <a:bodyPr>
            <a:noAutofit/>
          </a:bodyPr>
          <a:lstStyle>
            <a:lvl1pPr algn="ctr">
              <a:defRPr sz="5400">
                <a:solidFill>
                  <a:schemeClr val="bg2"/>
                </a:solidFill>
              </a:defRPr>
            </a:lvl1pPr>
          </a:lstStyle>
          <a:p>
            <a:r>
              <a:rPr lang="en-US"/>
              <a:t>Click to edit Master title sty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7"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7 – All rights reserved</a:t>
            </a:r>
            <a:endParaRPr lang="fr-FR"/>
          </a:p>
        </p:txBody>
      </p:sp>
    </p:spTree>
    <p:extLst>
      <p:ext uri="{BB962C8B-B14F-4D97-AF65-F5344CB8AC3E}">
        <p14:creationId xmlns:p14="http://schemas.microsoft.com/office/powerpoint/2010/main" val="119982155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ramed picture + coloured slide">
    <p:bg>
      <p:bgPr>
        <a:solidFill>
          <a:schemeClr val="tx2"/>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1"/>
          </p:nvPr>
        </p:nvSpPr>
        <p:spPr>
          <a:xfrm>
            <a:off x="0" y="0"/>
            <a:ext cx="5580063" cy="6843403"/>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 name="connsiteX0" fmla="*/ 0 w 5580063"/>
              <a:gd name="connsiteY0" fmla="*/ 0 h 6840538"/>
              <a:gd name="connsiteX1" fmla="*/ 5580063 w 5580063"/>
              <a:gd name="connsiteY1" fmla="*/ 0 h 6840538"/>
              <a:gd name="connsiteX2" fmla="*/ 3146247 w 5580063"/>
              <a:gd name="connsiteY2" fmla="*/ 5704413 h 6840538"/>
              <a:gd name="connsiteX3" fmla="*/ 0 w 5580063"/>
              <a:gd name="connsiteY3" fmla="*/ 6840538 h 6840538"/>
              <a:gd name="connsiteX4" fmla="*/ 0 w 5580063"/>
              <a:gd name="connsiteY4" fmla="*/ 0 h 6840538"/>
              <a:gd name="connsiteX0" fmla="*/ 0 w 5580063"/>
              <a:gd name="connsiteY0" fmla="*/ 0 h 6222917"/>
              <a:gd name="connsiteX1" fmla="*/ 5580063 w 5580063"/>
              <a:gd name="connsiteY1" fmla="*/ 0 h 6222917"/>
              <a:gd name="connsiteX2" fmla="*/ 3146247 w 5580063"/>
              <a:gd name="connsiteY2" fmla="*/ 5704413 h 6222917"/>
              <a:gd name="connsiteX3" fmla="*/ 272716 w 5580063"/>
              <a:gd name="connsiteY3" fmla="*/ 6222917 h 6222917"/>
              <a:gd name="connsiteX4" fmla="*/ 0 w 5580063"/>
              <a:gd name="connsiteY4" fmla="*/ 0 h 6222917"/>
              <a:gd name="connsiteX0" fmla="*/ 0 w 5580063"/>
              <a:gd name="connsiteY0" fmla="*/ 0 h 6840538"/>
              <a:gd name="connsiteX1" fmla="*/ 5580063 w 5580063"/>
              <a:gd name="connsiteY1" fmla="*/ 0 h 6840538"/>
              <a:gd name="connsiteX2" fmla="*/ 3146247 w 5580063"/>
              <a:gd name="connsiteY2" fmla="*/ 5704413 h 6840538"/>
              <a:gd name="connsiteX3" fmla="*/ 0 w 5580063"/>
              <a:gd name="connsiteY3" fmla="*/ 6840538 h 6840538"/>
              <a:gd name="connsiteX4" fmla="*/ 0 w 5580063"/>
              <a:gd name="connsiteY4" fmla="*/ 0 h 6840538"/>
              <a:gd name="connsiteX0" fmla="*/ 0 w 5580063"/>
              <a:gd name="connsiteY0" fmla="*/ 0 h 6843403"/>
              <a:gd name="connsiteX1" fmla="*/ 5580063 w 5580063"/>
              <a:gd name="connsiteY1" fmla="*/ 0 h 6843403"/>
              <a:gd name="connsiteX2" fmla="*/ 3290625 w 5580063"/>
              <a:gd name="connsiteY2" fmla="*/ 6843403 h 6843403"/>
              <a:gd name="connsiteX3" fmla="*/ 0 w 5580063"/>
              <a:gd name="connsiteY3" fmla="*/ 6840538 h 6843403"/>
              <a:gd name="connsiteX4" fmla="*/ 0 w 5580063"/>
              <a:gd name="connsiteY4" fmla="*/ 0 h 6843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43403">
                <a:moveTo>
                  <a:pt x="0" y="0"/>
                </a:moveTo>
                <a:lnTo>
                  <a:pt x="5580063" y="0"/>
                </a:lnTo>
                <a:lnTo>
                  <a:pt x="3290625" y="6843403"/>
                </a:lnTo>
                <a:lnTo>
                  <a:pt x="0" y="6840538"/>
                </a:lnTo>
                <a:lnTo>
                  <a:pt x="0" y="0"/>
                </a:lnTo>
                <a:close/>
              </a:path>
            </a:pathLst>
          </a:custGeom>
        </p:spPr>
        <p:txBody>
          <a:bodyPr/>
          <a:lstStyle>
            <a:lvl1pPr>
              <a:defRPr>
                <a:solidFill>
                  <a:schemeClr val="bg1"/>
                </a:solidFill>
              </a:defRPr>
            </a:lvl1pPr>
          </a:lstStyle>
          <a:p>
            <a:endParaRPr lang="en-GB"/>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
        <p:nvSpPr>
          <p:cNvPr id="10" name="Title 1">
            <a:extLst>
              <a:ext uri="{FF2B5EF4-FFF2-40B4-BE49-F238E27FC236}">
                <a16:creationId xmlns:a16="http://schemas.microsoft.com/office/drawing/2014/main" id="{6C13A741-605A-4BC1-B12F-6B4884693E96}"/>
              </a:ext>
            </a:extLst>
          </p:cNvPr>
          <p:cNvSpPr>
            <a:spLocks noGrp="1"/>
          </p:cNvSpPr>
          <p:nvPr>
            <p:ph type="title"/>
          </p:nvPr>
        </p:nvSpPr>
        <p:spPr>
          <a:xfrm>
            <a:off x="5795068" y="398125"/>
            <a:ext cx="5832362" cy="1139825"/>
          </a:xfrm>
        </p:spPr>
        <p:txBody>
          <a:bodyPr/>
          <a:lstStyle>
            <a:lvl1pPr>
              <a:defRPr>
                <a:solidFill>
                  <a:schemeClr val="bg2"/>
                </a:solidFill>
              </a:defRPr>
            </a:lvl1pPr>
          </a:lstStyle>
          <a:p>
            <a:r>
              <a:rPr lang="en-US"/>
              <a:t>Click to edit Master title style</a:t>
            </a:r>
            <a:endParaRPr lang="sv-SE"/>
          </a:p>
        </p:txBody>
      </p:sp>
      <p:sp>
        <p:nvSpPr>
          <p:cNvPr id="11" name="Text Placeholder 6">
            <a:extLst>
              <a:ext uri="{FF2B5EF4-FFF2-40B4-BE49-F238E27FC236}">
                <a16:creationId xmlns:a16="http://schemas.microsoft.com/office/drawing/2014/main" id="{37B0033A-ADF4-48AE-89CB-79A6BEA12A9E}"/>
              </a:ext>
            </a:extLst>
          </p:cNvPr>
          <p:cNvSpPr>
            <a:spLocks noGrp="1"/>
          </p:cNvSpPr>
          <p:nvPr>
            <p:ph type="body" sz="quarter" idx="13"/>
          </p:nvPr>
        </p:nvSpPr>
        <p:spPr>
          <a:xfrm>
            <a:off x="5796855" y="1622262"/>
            <a:ext cx="5833170" cy="3096344"/>
          </a:xfrm>
        </p:spPr>
        <p:txBody>
          <a:bodyPr/>
          <a:lstStyle>
            <a:lvl1pPr>
              <a:defRPr>
                <a:solidFill>
                  <a:schemeClr val="bg2"/>
                </a:solidFill>
              </a:defRPr>
            </a:lvl1pPr>
            <a:lvl2pPr marL="174625" indent="-174625">
              <a:defRPr b="0">
                <a:solidFill>
                  <a:schemeClr val="bg2"/>
                </a:solidFill>
              </a:defRPr>
            </a:lvl2pPr>
            <a:lvl3pPr marL="446088" indent="-182563">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5">
            <a:extLst>
              <a:ext uri="{FF2B5EF4-FFF2-40B4-BE49-F238E27FC236}">
                <a16:creationId xmlns:a16="http://schemas.microsoft.com/office/drawing/2014/main" id="{433DB39A-143B-4E21-B66E-C747B1944757}"/>
              </a:ext>
            </a:extLst>
          </p:cNvPr>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rtl="0" fontAlgn="base">
              <a:spcBef>
                <a:spcPct val="0"/>
              </a:spcBef>
              <a:spcAft>
                <a:spcPct val="0"/>
              </a:spcAft>
              <a:defRPr lang="en-GB" sz="1000" kern="1200" smtClean="0">
                <a:solidFill>
                  <a:schemeClr val="bg1"/>
                </a:solidFill>
                <a:latin typeface="Arial" pitchFamily="34" charset="0"/>
                <a:ea typeface="+mn-ea"/>
                <a:cs typeface="Arial" pitchFamily="34" charset="0"/>
              </a:defRPr>
            </a:lvl1pPr>
          </a:lstStyle>
          <a:p>
            <a:fld id="{C864BB8D-94B4-466C-94BF-D114C83BF951}" type="slidenum">
              <a:rPr lang="sv-SE" smtClean="0"/>
              <a:pPr/>
              <a:t>‹#›</a:t>
            </a:fld>
            <a:endParaRPr lang="sv-SE"/>
          </a:p>
        </p:txBody>
      </p:sp>
      <p:sp>
        <p:nvSpPr>
          <p:cNvPr id="13" name="Footer Placeholder 3">
            <a:extLst>
              <a:ext uri="{FF2B5EF4-FFF2-40B4-BE49-F238E27FC236}">
                <a16:creationId xmlns:a16="http://schemas.microsoft.com/office/drawing/2014/main" id="{904E8A03-9A22-485E-9E85-B8CB75F063B3}"/>
              </a:ext>
            </a:extLst>
          </p:cNvPr>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332172272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loured 5th element and background picture">
    <p:bg>
      <p:bgPr>
        <a:solidFill>
          <a:schemeClr val="tx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
        <p:nvSpPr>
          <p:cNvPr id="8"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
        <p:nvSpPr>
          <p:cNvPr id="14" name="Title 1">
            <a:extLst>
              <a:ext uri="{FF2B5EF4-FFF2-40B4-BE49-F238E27FC236}">
                <a16:creationId xmlns:a16="http://schemas.microsoft.com/office/drawing/2014/main" id="{F9D28480-8A73-4A7B-BE33-1AA00B1CB4C4}"/>
              </a:ext>
            </a:extLst>
          </p:cNvPr>
          <p:cNvSpPr>
            <a:spLocks noGrp="1"/>
          </p:cNvSpPr>
          <p:nvPr>
            <p:ph type="title"/>
          </p:nvPr>
        </p:nvSpPr>
        <p:spPr>
          <a:xfrm>
            <a:off x="539750" y="408236"/>
            <a:ext cx="11088139" cy="1139825"/>
          </a:xfrm>
        </p:spPr>
        <p:txBody>
          <a:bodyPr/>
          <a:lstStyle>
            <a:lvl1pPr>
              <a:defRPr>
                <a:solidFill>
                  <a:schemeClr val="bg2"/>
                </a:solidFill>
              </a:defRPr>
            </a:lvl1pPr>
          </a:lstStyle>
          <a:p>
            <a:r>
              <a:rPr lang="en-US"/>
              <a:t>Click to edit Master title style</a:t>
            </a:r>
            <a:endParaRPr lang="en-GB"/>
          </a:p>
        </p:txBody>
      </p:sp>
      <p:sp>
        <p:nvSpPr>
          <p:cNvPr id="15" name="Content Placeholder 6">
            <a:extLst>
              <a:ext uri="{FF2B5EF4-FFF2-40B4-BE49-F238E27FC236}">
                <a16:creationId xmlns:a16="http://schemas.microsoft.com/office/drawing/2014/main" id="{30F84E91-07F7-4E80-8B8A-BDB4D1836A38}"/>
              </a:ext>
            </a:extLst>
          </p:cNvPr>
          <p:cNvSpPr>
            <a:spLocks noGrp="1"/>
          </p:cNvSpPr>
          <p:nvPr>
            <p:ph sz="quarter" idx="11"/>
          </p:nvPr>
        </p:nvSpPr>
        <p:spPr>
          <a:xfrm>
            <a:off x="539749" y="1620837"/>
            <a:ext cx="5400000" cy="4031679"/>
          </a:xfrm>
        </p:spPr>
        <p:txBody>
          <a:bodyPr/>
          <a:lstStyle>
            <a:lvl1pPr>
              <a:defRPr>
                <a:solidFill>
                  <a:schemeClr val="bg2"/>
                </a:solidFill>
              </a:defRPr>
            </a:lvl1pPr>
            <a:lvl2pPr>
              <a:defRPr b="0">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8">
            <a:extLst>
              <a:ext uri="{FF2B5EF4-FFF2-40B4-BE49-F238E27FC236}">
                <a16:creationId xmlns:a16="http://schemas.microsoft.com/office/drawing/2014/main" id="{9DEA0AA1-1828-4089-9D9F-0A47023BCBC9}"/>
              </a:ext>
            </a:extLst>
          </p:cNvPr>
          <p:cNvSpPr>
            <a:spLocks noGrp="1"/>
          </p:cNvSpPr>
          <p:nvPr>
            <p:ph sz="quarter" idx="13"/>
          </p:nvPr>
        </p:nvSpPr>
        <p:spPr>
          <a:xfrm>
            <a:off x="6228903" y="1620838"/>
            <a:ext cx="5398986" cy="4031474"/>
          </a:xfrm>
        </p:spPr>
        <p:txBody>
          <a:bodyPr/>
          <a:lstStyle>
            <a:lvl1pPr>
              <a:defRPr>
                <a:solidFill>
                  <a:schemeClr val="bg2"/>
                </a:solidFill>
              </a:defRPr>
            </a:lvl1pPr>
            <a:lvl2pPr>
              <a:defRPr b="0">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37089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hank you  Layou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1992412"/>
            <a:ext cx="11088139" cy="2291953"/>
          </a:xfrm>
        </p:spPr>
        <p:txBody>
          <a:bodyPr anchor="ctr" anchorCtr="1">
            <a:noAutofit/>
          </a:bodyPr>
          <a:lstStyle>
            <a:lvl1pPr algn="ctr">
              <a:defRPr sz="6000" b="0">
                <a:solidFill>
                  <a:schemeClr val="bg2"/>
                </a:solidFill>
              </a:defRPr>
            </a:lvl1pPr>
          </a:lstStyle>
          <a:p>
            <a:r>
              <a:rPr lang="en-US"/>
              <a:t>Thank you!</a:t>
            </a:r>
            <a:endParaRPr lang="en-GB"/>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pic>
        <p:nvPicPr>
          <p:cNvPr id="4" name="Picture 3">
            <a:extLst>
              <a:ext uri="{FF2B5EF4-FFF2-40B4-BE49-F238E27FC236}">
                <a16:creationId xmlns:a16="http://schemas.microsoft.com/office/drawing/2014/main" id="{87CC4B59-4AB1-4B5D-A44B-937E104B0F0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73432" y="5518857"/>
            <a:ext cx="6446533" cy="557785"/>
          </a:xfrm>
          <a:prstGeom prst="rect">
            <a:avLst/>
          </a:prstGeom>
        </p:spPr>
      </p:pic>
    </p:spTree>
    <p:extLst>
      <p:ext uri="{BB962C8B-B14F-4D97-AF65-F5344CB8AC3E}">
        <p14:creationId xmlns:p14="http://schemas.microsoft.com/office/powerpoint/2010/main" val="133388190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Chapter page">
    <p:bg>
      <p:bgPr>
        <a:solidFill>
          <a:schemeClr val="tx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4488D4-CD72-4342-818C-A7B16A1ED3CC}"/>
              </a:ext>
            </a:extLst>
          </p:cNvPr>
          <p:cNvGrpSpPr/>
          <p:nvPr userDrawn="1"/>
        </p:nvGrpSpPr>
        <p:grpSpPr>
          <a:xfrm>
            <a:off x="1150205" y="1940353"/>
            <a:ext cx="9869364" cy="2570196"/>
            <a:chOff x="1150205" y="1940353"/>
            <a:chExt cx="9869364" cy="2570196"/>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850106" y="1940353"/>
              <a:ext cx="2469563" cy="1512169"/>
            </a:xfrm>
            <a:prstGeom prst="rect">
              <a:avLst/>
            </a:prstGeom>
          </p:spPr>
        </p:pic>
        <p:sp>
          <p:nvSpPr>
            <p:cNvPr id="8" name="Title 1">
              <a:extLst>
                <a:ext uri="{FF2B5EF4-FFF2-40B4-BE49-F238E27FC236}">
                  <a16:creationId xmlns:a16="http://schemas.microsoft.com/office/drawing/2014/main" id="{03FCC5F1-E6C4-4992-A8CA-064E596743BA}"/>
                </a:ext>
              </a:extLst>
            </p:cNvPr>
            <p:cNvSpPr txBox="1">
              <a:spLocks/>
            </p:cNvSpPr>
            <p:nvPr userDrawn="1"/>
          </p:nvSpPr>
          <p:spPr>
            <a:xfrm>
              <a:off x="1150205" y="3574445"/>
              <a:ext cx="9869364" cy="936104"/>
            </a:xfrm>
            <a:prstGeom prst="rect">
              <a:avLst/>
            </a:prstGeom>
          </p:spPr>
          <p:txBody>
            <a:bodyPr vert="horz" lIns="91440" tIns="45720" rIns="91440" bIns="45720" rtlCol="0" anchor="t">
              <a:noAutofit/>
            </a:bodyPr>
            <a:lstStyle>
              <a:lvl1pPr algn="ctr" defTabSz="914400" rtl="0" eaLnBrk="1" latinLnBrk="0" hangingPunct="1">
                <a:spcBef>
                  <a:spcPct val="0"/>
                </a:spcBef>
                <a:buNone/>
                <a:defRPr sz="5400" kern="1200" spc="-130" baseline="0">
                  <a:solidFill>
                    <a:schemeClr val="bg2"/>
                  </a:solidFill>
                  <a:latin typeface="Arial" pitchFamily="34" charset="0"/>
                  <a:ea typeface="+mj-ea"/>
                  <a:cs typeface="Arial" pitchFamily="34" charset="0"/>
                </a:defRPr>
              </a:lvl1pPr>
            </a:lstStyle>
            <a:p>
              <a:pPr fontAlgn="auto">
                <a:spcAft>
                  <a:spcPts val="0"/>
                </a:spcAft>
              </a:pPr>
              <a:r>
                <a:rPr lang="en-US" sz="4400">
                  <a:solidFill>
                    <a:schemeClr val="accent1"/>
                  </a:solidFill>
                </a:rPr>
                <a:t>The better </a:t>
              </a:r>
              <a:r>
                <a:rPr lang="en-US" sz="4400"/>
                <a:t>shopping experience</a:t>
              </a:r>
              <a:endParaRPr lang="en-GB" sz="4400"/>
            </a:p>
          </p:txBody>
        </p:sp>
      </p:grpSp>
    </p:spTree>
    <p:extLst>
      <p:ext uri="{BB962C8B-B14F-4D97-AF65-F5344CB8AC3E}">
        <p14:creationId xmlns:p14="http://schemas.microsoft.com/office/powerpoint/2010/main" val="240011522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_Chapter page">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571ECAF-F4EB-4754-ABB7-776B0AAB29B8}"/>
              </a:ext>
            </a:extLst>
          </p:cNvPr>
          <p:cNvGrpSpPr/>
          <p:nvPr userDrawn="1"/>
        </p:nvGrpSpPr>
        <p:grpSpPr>
          <a:xfrm>
            <a:off x="790165" y="1943897"/>
            <a:ext cx="10589444" cy="2628500"/>
            <a:chOff x="790165" y="1943897"/>
            <a:chExt cx="10589444" cy="2628500"/>
          </a:xfrm>
        </p:grpSpPr>
        <p:pic>
          <p:nvPicPr>
            <p:cNvPr id="4" name="Picture 3">
              <a:extLst>
                <a:ext uri="{FF2B5EF4-FFF2-40B4-BE49-F238E27FC236}">
                  <a16:creationId xmlns:a16="http://schemas.microsoft.com/office/drawing/2014/main" id="{4DB854F6-348C-4276-9E6E-C646FC6F5B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35058" y="1943897"/>
              <a:ext cx="2499659" cy="1528060"/>
            </a:xfrm>
            <a:prstGeom prst="rect">
              <a:avLst/>
            </a:prstGeom>
          </p:spPr>
        </p:pic>
        <p:sp>
          <p:nvSpPr>
            <p:cNvPr id="5" name="Title 1">
              <a:extLst>
                <a:ext uri="{FF2B5EF4-FFF2-40B4-BE49-F238E27FC236}">
                  <a16:creationId xmlns:a16="http://schemas.microsoft.com/office/drawing/2014/main" id="{656804A1-34B7-43F1-9302-DB91D0E3C5E5}"/>
                </a:ext>
              </a:extLst>
            </p:cNvPr>
            <p:cNvSpPr txBox="1">
              <a:spLocks/>
            </p:cNvSpPr>
            <p:nvPr userDrawn="1"/>
          </p:nvSpPr>
          <p:spPr>
            <a:xfrm>
              <a:off x="790165" y="3576588"/>
              <a:ext cx="10589444" cy="995809"/>
            </a:xfrm>
            <a:prstGeom prst="rect">
              <a:avLst/>
            </a:prstGeom>
          </p:spPr>
          <p:txBody>
            <a:bodyPr vert="horz" lIns="91440" tIns="45720" rIns="91440" bIns="45720" rtlCol="0" anchor="t">
              <a:noAutofit/>
            </a:bodyPr>
            <a:lstStyle>
              <a:lvl1pPr algn="ctr" defTabSz="914400" rtl="0" eaLnBrk="1" latinLnBrk="0" hangingPunct="1">
                <a:spcBef>
                  <a:spcPct val="0"/>
                </a:spcBef>
                <a:buNone/>
                <a:defRPr sz="5400" kern="1200" spc="-130" baseline="0">
                  <a:solidFill>
                    <a:schemeClr val="bg2"/>
                  </a:solidFill>
                  <a:latin typeface="Arial" pitchFamily="34" charset="0"/>
                  <a:ea typeface="+mj-ea"/>
                  <a:cs typeface="Arial" pitchFamily="34" charset="0"/>
                </a:defRPr>
              </a:lvl1pPr>
            </a:lstStyle>
            <a:p>
              <a:pPr fontAlgn="auto">
                <a:spcAft>
                  <a:spcPts val="0"/>
                </a:spcAft>
              </a:pPr>
              <a:r>
                <a:rPr lang="en-US" sz="4400">
                  <a:solidFill>
                    <a:schemeClr val="accent1"/>
                  </a:solidFill>
                </a:rPr>
                <a:t>The better </a:t>
              </a:r>
              <a:r>
                <a:rPr lang="en-US" sz="4400">
                  <a:solidFill>
                    <a:schemeClr val="tx2"/>
                  </a:solidFill>
                </a:rPr>
                <a:t>shopping experience</a:t>
              </a:r>
              <a:endParaRPr lang="en-GB" sz="4400">
                <a:solidFill>
                  <a:schemeClr val="tx2"/>
                </a:solidFill>
              </a:endParaRPr>
            </a:p>
          </p:txBody>
        </p:sp>
      </p:grpSp>
    </p:spTree>
    <p:extLst>
      <p:ext uri="{BB962C8B-B14F-4D97-AF65-F5344CB8AC3E}">
        <p14:creationId xmlns:p14="http://schemas.microsoft.com/office/powerpoint/2010/main" val="5126760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ramed picture + coloured slide">
    <p:bg>
      <p:bgPr>
        <a:solidFill>
          <a:schemeClr val="tx2"/>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lvl1pPr>
              <a:defRPr>
                <a:solidFill>
                  <a:schemeClr val="bg1"/>
                </a:solidFill>
              </a:defRPr>
            </a:lvl1pPr>
          </a:lstStyle>
          <a:p>
            <a:endParaRPr lang="en-GB"/>
          </a:p>
        </p:txBody>
      </p:sp>
      <p:sp>
        <p:nvSpPr>
          <p:cNvPr id="2" name="Title 1"/>
          <p:cNvSpPr>
            <a:spLocks noGrp="1"/>
          </p:cNvSpPr>
          <p:nvPr>
            <p:ph type="title"/>
          </p:nvPr>
        </p:nvSpPr>
        <p:spPr>
          <a:xfrm>
            <a:off x="5724847" y="1980109"/>
            <a:ext cx="5654762" cy="2940025"/>
          </a:xfrm>
        </p:spPr>
        <p:txBody>
          <a:bodyPr>
            <a:noAutofit/>
          </a:bodyPr>
          <a:lstStyle>
            <a:lvl1pPr algn="ctr">
              <a:defRPr sz="4000">
                <a:solidFill>
                  <a:schemeClr val="bg2"/>
                </a:solidFill>
              </a:defRPr>
            </a:lvl1pPr>
          </a:lstStyle>
          <a:p>
            <a:r>
              <a:rPr lang="en-US"/>
              <a:t>Click to edit Master title sty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8"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7 – All rights reserved</a:t>
            </a:r>
            <a:endParaRPr lang="fr-FR"/>
          </a:p>
        </p:txBody>
      </p:sp>
    </p:spTree>
    <p:extLst>
      <p:ext uri="{BB962C8B-B14F-4D97-AF65-F5344CB8AC3E}">
        <p14:creationId xmlns:p14="http://schemas.microsoft.com/office/powerpoint/2010/main" val="10926910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page">
    <p:spTree>
      <p:nvGrpSpPr>
        <p:cNvPr id="1" name=""/>
        <p:cNvGrpSpPr/>
        <p:nvPr/>
      </p:nvGrpSpPr>
      <p:grpSpPr>
        <a:xfrm>
          <a:off x="0" y="0"/>
          <a:ext cx="0" cy="0"/>
          <a:chOff x="0" y="0"/>
          <a:chExt cx="0" cy="0"/>
        </a:xfrm>
      </p:grpSpPr>
      <p:sp>
        <p:nvSpPr>
          <p:cNvPr id="2" name="Title 1"/>
          <p:cNvSpPr>
            <a:spLocks noGrp="1"/>
          </p:cNvSpPr>
          <p:nvPr>
            <p:ph type="title"/>
          </p:nvPr>
        </p:nvSpPr>
        <p:spPr>
          <a:xfrm>
            <a:off x="972319" y="408236"/>
            <a:ext cx="10297144" cy="1139825"/>
          </a:xfrm>
        </p:spPr>
        <p:txBody>
          <a:bodyPr/>
          <a:lstStyle/>
          <a:p>
            <a:r>
              <a:rPr lang="en-US"/>
              <a:t>Click to edit Master title style</a:t>
            </a:r>
            <a:endParaRPr lang="en-GB"/>
          </a:p>
        </p:txBody>
      </p:sp>
      <p:sp>
        <p:nvSpPr>
          <p:cNvPr id="3" name="Slide Number Placeholder 2"/>
          <p:cNvSpPr>
            <a:spLocks noGrp="1"/>
          </p:cNvSpPr>
          <p:nvPr>
            <p:ph type="sldNum" sz="quarter" idx="10"/>
          </p:nvPr>
        </p:nvSpPr>
        <p:spPr>
          <a:xfrm>
            <a:off x="468263" y="6369099"/>
            <a:ext cx="503287" cy="363538"/>
          </a:xfrm>
        </p:spPr>
        <p:txBody>
          <a:bodyPr/>
          <a:lstStyle/>
          <a:p>
            <a:fld id="{C864BB8D-94B4-466C-94BF-D114C83BF951}" type="slidenum">
              <a:rPr lang="en-GB" smtClean="0"/>
              <a:pPr/>
              <a:t>‹#›</a:t>
            </a:fld>
            <a:endParaRPr lang="en-GB"/>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4155" y="5904252"/>
            <a:ext cx="885348" cy="540353"/>
          </a:xfrm>
          <a:prstGeom prst="rect">
            <a:avLst/>
          </a:prstGeom>
        </p:spPr>
      </p:pic>
      <p:sp>
        <p:nvSpPr>
          <p:cNvPr id="7" name="Text Placeholder 6"/>
          <p:cNvSpPr>
            <a:spLocks noGrp="1"/>
          </p:cNvSpPr>
          <p:nvPr>
            <p:ph type="body" sz="quarter" idx="11"/>
          </p:nvPr>
        </p:nvSpPr>
        <p:spPr>
          <a:xfrm>
            <a:off x="971550" y="2001600"/>
            <a:ext cx="10297913" cy="3959671"/>
          </a:xfrm>
        </p:spPr>
        <p:txBody>
          <a:bodyPr/>
          <a:lstStyle>
            <a:lvl2pPr marL="174625" indent="-174625">
              <a:defRPr b="0"/>
            </a:lvl2pPr>
            <a:lvl3pPr marL="446088" indent="-182563">
              <a:defRPr/>
            </a:lvl3pPr>
          </a:lstStyle>
          <a:p>
            <a:pPr lvl="0"/>
            <a:r>
              <a:rPr lang="en-US" dirty="0"/>
              <a:t>Click to edit Master text styles</a:t>
            </a:r>
          </a:p>
          <a:p>
            <a:pPr lvl="1"/>
            <a:r>
              <a:rPr lang="en-US" dirty="0"/>
              <a:t>Second level</a:t>
            </a:r>
          </a:p>
          <a:p>
            <a:pPr lvl="2"/>
            <a:r>
              <a:rPr lang="en-US" dirty="0"/>
              <a:t>Third level</a:t>
            </a:r>
          </a:p>
        </p:txBody>
      </p:sp>
      <p:sp>
        <p:nvSpPr>
          <p:cNvPr id="9"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8 – All rights reserved</a:t>
            </a:r>
            <a:endParaRPr lang="fr-FR" dirty="0"/>
          </a:p>
        </p:txBody>
      </p:sp>
    </p:spTree>
    <p:extLst>
      <p:ext uri="{BB962C8B-B14F-4D97-AF65-F5344CB8AC3E}">
        <p14:creationId xmlns:p14="http://schemas.microsoft.com/office/powerpoint/2010/main" val="24209169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loured 5th element and background picture">
    <p:bg>
      <p:bgPr>
        <a:solidFill>
          <a:schemeClr val="tx2"/>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p>
            <a:endParaRPr lang="en-GB"/>
          </a:p>
        </p:txBody>
      </p:sp>
      <p:sp>
        <p:nvSpPr>
          <p:cNvPr id="2" name="Title 1"/>
          <p:cNvSpPr>
            <a:spLocks noGrp="1"/>
          </p:cNvSpPr>
          <p:nvPr>
            <p:ph type="title"/>
          </p:nvPr>
        </p:nvSpPr>
        <p:spPr>
          <a:xfrm>
            <a:off x="8206989" y="2484165"/>
            <a:ext cx="3566530" cy="2940025"/>
          </a:xfrm>
        </p:spPr>
        <p:txBody>
          <a:bodyPr>
            <a:noAutofit/>
          </a:bodyPr>
          <a:lstStyle>
            <a:lvl1pPr algn="r">
              <a:defRPr sz="4000">
                <a:solidFill>
                  <a:schemeClr val="bg2"/>
                </a:solidFill>
              </a:defRPr>
            </a:lvl1pPr>
          </a:lstStyle>
          <a:p>
            <a:r>
              <a:rPr lang="en-US"/>
              <a:t>Click to edit Master title sty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4" name="Text Placeholder 3"/>
          <p:cNvSpPr>
            <a:spLocks noGrp="1"/>
          </p:cNvSpPr>
          <p:nvPr>
            <p:ph type="body" sz="quarter" idx="13"/>
          </p:nvPr>
        </p:nvSpPr>
        <p:spPr>
          <a:xfrm>
            <a:off x="467742" y="467941"/>
            <a:ext cx="2880841" cy="4608512"/>
          </a:xfrm>
        </p:spPr>
        <p:txBody>
          <a:bodyPr/>
          <a:lstStyle>
            <a:lvl1pPr>
              <a:defRPr sz="4000">
                <a:solidFill>
                  <a:schemeClr val="bg2"/>
                </a:solidFill>
              </a:defRPr>
            </a:lvl1pPr>
          </a:lstStyle>
          <a:p>
            <a:pPr lvl="0"/>
            <a:r>
              <a:rPr lang="en-US"/>
              <a:t>Edit Master text styles</a:t>
            </a:r>
          </a:p>
        </p:txBody>
      </p:sp>
      <p:sp>
        <p:nvSpPr>
          <p:cNvPr id="8"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7 – All rights reserved</a:t>
            </a:r>
            <a:endParaRPr lang="fr-FR"/>
          </a:p>
        </p:txBody>
      </p:sp>
    </p:spTree>
    <p:extLst>
      <p:ext uri="{BB962C8B-B14F-4D97-AF65-F5344CB8AC3E}">
        <p14:creationId xmlns:p14="http://schemas.microsoft.com/office/powerpoint/2010/main" val="194875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ackground picture white logo">
    <p:spTree>
      <p:nvGrpSpPr>
        <p:cNvPr id="1" name=""/>
        <p:cNvGrpSpPr/>
        <p:nvPr/>
      </p:nvGrpSpPr>
      <p:grpSpPr>
        <a:xfrm>
          <a:off x="0" y="0"/>
          <a:ext cx="0" cy="0"/>
          <a:chOff x="0" y="0"/>
          <a:chExt cx="0" cy="0"/>
        </a:xfrm>
      </p:grpSpPr>
      <p:sp>
        <p:nvSpPr>
          <p:cNvPr id="2" name="Title 1"/>
          <p:cNvSpPr>
            <a:spLocks noGrp="1"/>
          </p:cNvSpPr>
          <p:nvPr>
            <p:ph type="title"/>
          </p:nvPr>
        </p:nvSpPr>
        <p:spPr>
          <a:xfrm>
            <a:off x="936316" y="1992412"/>
            <a:ext cx="10297144" cy="1139825"/>
          </a:xfrm>
        </p:spPr>
        <p:txBody>
          <a:bodyPr/>
          <a:lstStyle>
            <a:lvl1pPr algn="ctr">
              <a:defRPr b="0">
                <a:solidFill>
                  <a:schemeClr val="bg2"/>
                </a:solidFill>
              </a:defRPr>
            </a:lvl1p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5"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2"/>
                </a:solidFill>
              </a:defRPr>
            </a:lvl1pPr>
          </a:lstStyle>
          <a:p>
            <a:r>
              <a:rPr lang="en-US"/>
              <a:t>© HL Display 2017 – All rights reserved</a:t>
            </a:r>
            <a:endParaRPr lang="fr-FR"/>
          </a:p>
        </p:txBody>
      </p:sp>
    </p:spTree>
    <p:extLst>
      <p:ext uri="{BB962C8B-B14F-4D97-AF65-F5344CB8AC3E}">
        <p14:creationId xmlns:p14="http://schemas.microsoft.com/office/powerpoint/2010/main" val="8674100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ank you  Layou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368363" y="1992412"/>
            <a:ext cx="9433048" cy="2291953"/>
          </a:xfrm>
        </p:spPr>
        <p:txBody>
          <a:bodyPr>
            <a:noAutofit/>
          </a:bodyPr>
          <a:lstStyle>
            <a:lvl1pPr algn="ctr">
              <a:defRPr sz="9600" b="1">
                <a:solidFill>
                  <a:schemeClr val="bg2"/>
                </a:solidFill>
              </a:defRPr>
            </a:lvl1pPr>
          </a:lstStyle>
          <a:p>
            <a:r>
              <a:rPr lang="en-US"/>
              <a:t>Click to edit Master title style</a:t>
            </a:r>
            <a:endParaRPr lang="en-GB"/>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7" name="Text Placeholder 6"/>
          <p:cNvSpPr>
            <a:spLocks noGrp="1"/>
          </p:cNvSpPr>
          <p:nvPr>
            <p:ph type="body" sz="quarter" idx="10"/>
          </p:nvPr>
        </p:nvSpPr>
        <p:spPr>
          <a:xfrm>
            <a:off x="468957" y="6156127"/>
            <a:ext cx="4895850" cy="287873"/>
          </a:xfrm>
        </p:spPr>
        <p:txBody>
          <a:bodyPr>
            <a:normAutofit/>
          </a:bodyPr>
          <a:lstStyle>
            <a:lvl1pPr>
              <a:defRPr sz="1300">
                <a:solidFill>
                  <a:schemeClr val="bg2"/>
                </a:solidFill>
              </a:defRPr>
            </a:lvl1pPr>
          </a:lstStyle>
          <a:p>
            <a:pPr lvl="0"/>
            <a:r>
              <a:rPr lang="en-US"/>
              <a:t>Click to edit Master text styles</a:t>
            </a: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420591" y="5278388"/>
            <a:ext cx="1830986" cy="878185"/>
          </a:xfrm>
          <a:prstGeom prst="rect">
            <a:avLst/>
          </a:prstGeom>
        </p:spPr>
      </p:pic>
      <p:pic>
        <p:nvPicPr>
          <p:cNvPr id="11" name="Picture 10"/>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764407" y="5295815"/>
            <a:ext cx="1584176" cy="878185"/>
          </a:xfrm>
          <a:prstGeom prst="rect">
            <a:avLst/>
          </a:prstGeom>
        </p:spPr>
      </p:pic>
      <p:pic>
        <p:nvPicPr>
          <p:cNvPr id="12" name="Picture 1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24247" y="5167007"/>
            <a:ext cx="1584176" cy="878185"/>
          </a:xfrm>
          <a:prstGeom prst="rect">
            <a:avLst/>
          </a:prstGeom>
        </p:spPr>
      </p:pic>
      <p:pic>
        <p:nvPicPr>
          <p:cNvPr id="13" name="Picture 12"/>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5439618" y="5213799"/>
            <a:ext cx="1941413" cy="1006918"/>
          </a:xfrm>
          <a:prstGeom prst="rect">
            <a:avLst/>
          </a:prstGeom>
        </p:spPr>
      </p:pic>
    </p:spTree>
    <p:extLst>
      <p:ext uri="{BB962C8B-B14F-4D97-AF65-F5344CB8AC3E}">
        <p14:creationId xmlns:p14="http://schemas.microsoft.com/office/powerpoint/2010/main" val="30568087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ull color for 5th element and white bacground">
    <p:spTree>
      <p:nvGrpSpPr>
        <p:cNvPr id="1" name=""/>
        <p:cNvGrpSpPr/>
        <p:nvPr/>
      </p:nvGrpSpPr>
      <p:grpSpPr>
        <a:xfrm>
          <a:off x="0" y="0"/>
          <a:ext cx="0" cy="0"/>
          <a:chOff x="0" y="0"/>
          <a:chExt cx="0" cy="0"/>
        </a:xfrm>
      </p:grpSpPr>
      <p:sp>
        <p:nvSpPr>
          <p:cNvPr id="5" name="Freeform 4"/>
          <p:cNvSpPr/>
          <p:nvPr userDrawn="1"/>
        </p:nvSpPr>
        <p:spPr>
          <a:xfrm>
            <a:off x="-28576" y="1146412"/>
            <a:ext cx="7806519" cy="3712191"/>
          </a:xfrm>
          <a:custGeom>
            <a:avLst/>
            <a:gdLst>
              <a:gd name="connsiteX0" fmla="*/ 0 w 7806519"/>
              <a:gd name="connsiteY0" fmla="*/ 0 h 3712191"/>
              <a:gd name="connsiteX1" fmla="*/ 7806519 w 7806519"/>
              <a:gd name="connsiteY1" fmla="*/ 0 h 3712191"/>
              <a:gd name="connsiteX2" fmla="*/ 6564573 w 7806519"/>
              <a:gd name="connsiteY2" fmla="*/ 3712191 h 3712191"/>
              <a:gd name="connsiteX3" fmla="*/ 13648 w 7806519"/>
              <a:gd name="connsiteY3" fmla="*/ 3712191 h 3712191"/>
              <a:gd name="connsiteX4" fmla="*/ 0 w 7806519"/>
              <a:gd name="connsiteY4" fmla="*/ 0 h 3712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6519" h="3712191">
                <a:moveTo>
                  <a:pt x="0" y="0"/>
                </a:moveTo>
                <a:lnTo>
                  <a:pt x="7806519" y="0"/>
                </a:lnTo>
                <a:lnTo>
                  <a:pt x="6564573" y="3712191"/>
                </a:lnTo>
                <a:lnTo>
                  <a:pt x="13648" y="3712191"/>
                </a:lnTo>
                <a:cubicBezTo>
                  <a:pt x="9099" y="2474794"/>
                  <a:pt x="4549" y="1237397"/>
                  <a:pt x="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972000" y="2772365"/>
            <a:ext cx="5616000" cy="1512000"/>
          </a:xfrm>
          <a:prstGeom prst="rect">
            <a:avLst/>
          </a:prstGeom>
        </p:spPr>
        <p:txBody>
          <a:bodyPr>
            <a:noAutofit/>
          </a:bodyPr>
          <a:lstStyle>
            <a:lvl1pPr>
              <a:defRPr>
                <a:latin typeface="Helvetica LT Std Light" panose="020B0403020202020204" pitchFamily="34" charset="0"/>
              </a:defRPr>
            </a:lvl1pPr>
          </a:lstStyle>
          <a:p>
            <a:r>
              <a:rPr lang="en-US"/>
              <a:t>Click to edit Master title style</a:t>
            </a:r>
            <a:endParaRPr lang="en-GB"/>
          </a:p>
        </p:txBody>
      </p:sp>
      <p:sp>
        <p:nvSpPr>
          <p:cNvPr id="3" name="Subtitle 2"/>
          <p:cNvSpPr>
            <a:spLocks noGrp="1"/>
          </p:cNvSpPr>
          <p:nvPr>
            <p:ph type="subTitle" idx="1" hasCustomPrompt="1"/>
          </p:nvPr>
        </p:nvSpPr>
        <p:spPr>
          <a:xfrm>
            <a:off x="972000" y="4305600"/>
            <a:ext cx="5616000" cy="410400"/>
          </a:xfrm>
          <a:prstGeom prst="rect">
            <a:avLst/>
          </a:prstGeom>
        </p:spPr>
        <p:txBody>
          <a:bodyPr>
            <a:noAutofit/>
          </a:bodyPr>
          <a:lstStyle>
            <a:lvl1pPr marL="0" indent="0" algn="l">
              <a:buNone/>
              <a:defRPr baseline="0">
                <a:solidFill>
                  <a:schemeClr val="bg1"/>
                </a:solidFill>
                <a:latin typeface="HelveticaNeueLT Std Med"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1430" y="1764084"/>
            <a:ext cx="1469814" cy="900000"/>
          </a:xfrm>
          <a:prstGeom prst="rect">
            <a:avLst/>
          </a:prstGeom>
        </p:spPr>
      </p:pic>
    </p:spTree>
    <p:extLst>
      <p:ext uri="{BB962C8B-B14F-4D97-AF65-F5344CB8AC3E}">
        <p14:creationId xmlns:p14="http://schemas.microsoft.com/office/powerpoint/2010/main" val="42856993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ransparent colour for picture background">
    <p:spTree>
      <p:nvGrpSpPr>
        <p:cNvPr id="1" name=""/>
        <p:cNvGrpSpPr/>
        <p:nvPr/>
      </p:nvGrpSpPr>
      <p:grpSpPr>
        <a:xfrm>
          <a:off x="0" y="0"/>
          <a:ext cx="0" cy="0"/>
          <a:chOff x="0" y="0"/>
          <a:chExt cx="0" cy="0"/>
        </a:xfrm>
      </p:grpSpPr>
      <p:sp>
        <p:nvSpPr>
          <p:cNvPr id="5" name="Freeform 4"/>
          <p:cNvSpPr/>
          <p:nvPr userDrawn="1"/>
        </p:nvSpPr>
        <p:spPr>
          <a:xfrm>
            <a:off x="-28576" y="1146412"/>
            <a:ext cx="7806519" cy="3712191"/>
          </a:xfrm>
          <a:custGeom>
            <a:avLst/>
            <a:gdLst>
              <a:gd name="connsiteX0" fmla="*/ 0 w 7806519"/>
              <a:gd name="connsiteY0" fmla="*/ 0 h 3712191"/>
              <a:gd name="connsiteX1" fmla="*/ 7806519 w 7806519"/>
              <a:gd name="connsiteY1" fmla="*/ 0 h 3712191"/>
              <a:gd name="connsiteX2" fmla="*/ 6564573 w 7806519"/>
              <a:gd name="connsiteY2" fmla="*/ 3712191 h 3712191"/>
              <a:gd name="connsiteX3" fmla="*/ 13648 w 7806519"/>
              <a:gd name="connsiteY3" fmla="*/ 3712191 h 3712191"/>
              <a:gd name="connsiteX4" fmla="*/ 0 w 7806519"/>
              <a:gd name="connsiteY4" fmla="*/ 0 h 3712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6519" h="3712191">
                <a:moveTo>
                  <a:pt x="0" y="0"/>
                </a:moveTo>
                <a:lnTo>
                  <a:pt x="7806519" y="0"/>
                </a:lnTo>
                <a:lnTo>
                  <a:pt x="6564573" y="3712191"/>
                </a:lnTo>
                <a:lnTo>
                  <a:pt x="13648" y="3712191"/>
                </a:lnTo>
                <a:cubicBezTo>
                  <a:pt x="9099" y="2474794"/>
                  <a:pt x="4549" y="1237397"/>
                  <a:pt x="0" y="0"/>
                </a:cubicBezTo>
                <a:close/>
              </a:path>
            </a:pathLst>
          </a:cu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972000" y="2772000"/>
            <a:ext cx="5616000" cy="1512000"/>
          </a:xfrm>
          <a:prstGeom prst="rect">
            <a:avLst/>
          </a:prstGeom>
        </p:spPr>
        <p:txBody>
          <a:bodyPr>
            <a:noAutofit/>
          </a:bodyPr>
          <a:lstStyle/>
          <a:p>
            <a:r>
              <a:rPr lang="en-US"/>
              <a:t>Click to edit Master title style</a:t>
            </a:r>
            <a:endParaRPr lang="en-GB"/>
          </a:p>
        </p:txBody>
      </p:sp>
      <p:sp>
        <p:nvSpPr>
          <p:cNvPr id="3" name="Subtitle 2"/>
          <p:cNvSpPr>
            <a:spLocks noGrp="1"/>
          </p:cNvSpPr>
          <p:nvPr>
            <p:ph type="subTitle" idx="1" hasCustomPrompt="1"/>
          </p:nvPr>
        </p:nvSpPr>
        <p:spPr>
          <a:xfrm>
            <a:off x="972000" y="4305600"/>
            <a:ext cx="5616000" cy="410400"/>
          </a:xfrm>
          <a:prstGeom prst="rect">
            <a:avLst/>
          </a:prstGeom>
        </p:spPr>
        <p:txBody>
          <a:bodyPr>
            <a:noAutofit/>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1430" y="1764084"/>
            <a:ext cx="1469814" cy="900000"/>
          </a:xfrm>
          <a:prstGeom prst="rect">
            <a:avLst/>
          </a:prstGeom>
        </p:spPr>
      </p:pic>
    </p:spTree>
    <p:extLst>
      <p:ext uri="{BB962C8B-B14F-4D97-AF65-F5344CB8AC3E}">
        <p14:creationId xmlns:p14="http://schemas.microsoft.com/office/powerpoint/2010/main" val="27533861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Chapter page">
    <p:spTree>
      <p:nvGrpSpPr>
        <p:cNvPr id="1" name=""/>
        <p:cNvGrpSpPr/>
        <p:nvPr/>
      </p:nvGrpSpPr>
      <p:grpSpPr>
        <a:xfrm>
          <a:off x="0" y="0"/>
          <a:ext cx="0" cy="0"/>
          <a:chOff x="0" y="0"/>
          <a:chExt cx="0" cy="0"/>
        </a:xfrm>
      </p:grpSpPr>
      <p:sp>
        <p:nvSpPr>
          <p:cNvPr id="2" name="Title 1"/>
          <p:cNvSpPr>
            <a:spLocks noGrp="1"/>
          </p:cNvSpPr>
          <p:nvPr>
            <p:ph type="title"/>
          </p:nvPr>
        </p:nvSpPr>
        <p:spPr>
          <a:xfrm>
            <a:off x="790165" y="1908101"/>
            <a:ext cx="10589444" cy="995809"/>
          </a:xfrm>
        </p:spPr>
        <p:txBody>
          <a:bodyPr>
            <a:noAutofit/>
          </a:bodyPr>
          <a:lstStyle>
            <a:lvl1pPr algn="ctr">
              <a:defRPr sz="5400">
                <a:solidFill>
                  <a:schemeClr val="bg2"/>
                </a:solidFill>
              </a:defRPr>
            </a:lvl1pPr>
          </a:lstStyle>
          <a:p>
            <a:r>
              <a:rPr lang="en-US"/>
              <a:t>Click to edit Master title style</a:t>
            </a:r>
            <a:endParaRPr lang="en-GB"/>
          </a:p>
        </p:txBody>
      </p:sp>
      <p:sp>
        <p:nvSpPr>
          <p:cNvPr id="6" name="Slide Number Placeholder 5"/>
          <p:cNvSpPr>
            <a:spLocks noGrp="1"/>
          </p:cNvSpPr>
          <p:nvPr>
            <p:ph type="sldNum" sz="quarter" idx="12"/>
          </p:nvPr>
        </p:nvSpPr>
        <p:spPr>
          <a:xfrm>
            <a:off x="972319" y="6369099"/>
            <a:ext cx="1152128" cy="363538"/>
          </a:xfrm>
          <a:prstGeom prst="rect">
            <a:avLst/>
          </a:prstGeom>
        </p:spPr>
        <p:txBody>
          <a:bodyPr/>
          <a:lstStyle/>
          <a:p>
            <a:fld id="{C864BB8D-94B4-466C-94BF-D114C83BF951}" type="slidenum">
              <a:rPr lang="en-GB" smtClean="0"/>
              <a:t>‹#›</a:t>
            </a:fld>
            <a:endParaRPr lang="en-GB"/>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Tree>
    <p:extLst>
      <p:ext uri="{BB962C8B-B14F-4D97-AF65-F5344CB8AC3E}">
        <p14:creationId xmlns:p14="http://schemas.microsoft.com/office/powerpoint/2010/main" val="29543337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_Title and textbox">
    <p:spTree>
      <p:nvGrpSpPr>
        <p:cNvPr id="1" name=""/>
        <p:cNvGrpSpPr/>
        <p:nvPr/>
      </p:nvGrpSpPr>
      <p:grpSpPr>
        <a:xfrm>
          <a:off x="0" y="0"/>
          <a:ext cx="0" cy="0"/>
          <a:chOff x="0" y="0"/>
          <a:chExt cx="0" cy="0"/>
        </a:xfrm>
      </p:grpSpPr>
      <p:grpSp>
        <p:nvGrpSpPr>
          <p:cNvPr id="3" name="Group 2"/>
          <p:cNvGrpSpPr/>
          <p:nvPr userDrawn="1"/>
        </p:nvGrpSpPr>
        <p:grpSpPr>
          <a:xfrm>
            <a:off x="11044206" y="6021588"/>
            <a:ext cx="779393" cy="477318"/>
            <a:chOff x="11044206" y="6021588"/>
            <a:chExt cx="779393" cy="477318"/>
          </a:xfrm>
        </p:grpSpPr>
        <p:sp>
          <p:nvSpPr>
            <p:cNvPr id="4" name="object 4"/>
            <p:cNvSpPr/>
            <p:nvPr/>
          </p:nvSpPr>
          <p:spPr>
            <a:xfrm>
              <a:off x="11044206" y="6116976"/>
              <a:ext cx="222793" cy="381930"/>
            </a:xfrm>
            <a:custGeom>
              <a:avLst/>
              <a:gdLst/>
              <a:ahLst/>
              <a:cxnLst/>
              <a:rect l="l" t="t" r="r" b="b"/>
              <a:pathLst>
                <a:path w="297815" h="510540">
                  <a:moveTo>
                    <a:pt x="297599" y="0"/>
                  </a:moveTo>
                  <a:lnTo>
                    <a:pt x="170091" y="0"/>
                  </a:lnTo>
                  <a:lnTo>
                    <a:pt x="0" y="510006"/>
                  </a:lnTo>
                  <a:lnTo>
                    <a:pt x="127508" y="510006"/>
                  </a:lnTo>
                  <a:lnTo>
                    <a:pt x="297599"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 name="object 5"/>
            <p:cNvSpPr/>
            <p:nvPr/>
          </p:nvSpPr>
          <p:spPr>
            <a:xfrm>
              <a:off x="11220863" y="6116976"/>
              <a:ext cx="332526" cy="381930"/>
            </a:xfrm>
            <a:custGeom>
              <a:avLst/>
              <a:gdLst/>
              <a:ahLst/>
              <a:cxnLst/>
              <a:rect l="l" t="t" r="r" b="b"/>
              <a:pathLst>
                <a:path w="444500" h="510540">
                  <a:moveTo>
                    <a:pt x="443979" y="0"/>
                  </a:moveTo>
                  <a:lnTo>
                    <a:pt x="316471" y="0"/>
                  </a:lnTo>
                  <a:lnTo>
                    <a:pt x="231406" y="255003"/>
                  </a:lnTo>
                  <a:lnTo>
                    <a:pt x="40335" y="255003"/>
                  </a:lnTo>
                  <a:lnTo>
                    <a:pt x="0" y="375958"/>
                  </a:lnTo>
                  <a:lnTo>
                    <a:pt x="191084" y="375958"/>
                  </a:lnTo>
                  <a:lnTo>
                    <a:pt x="146367" y="510006"/>
                  </a:lnTo>
                  <a:lnTo>
                    <a:pt x="273875" y="510006"/>
                  </a:lnTo>
                  <a:lnTo>
                    <a:pt x="443979"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 name="object 6"/>
            <p:cNvSpPr/>
            <p:nvPr/>
          </p:nvSpPr>
          <p:spPr>
            <a:xfrm>
              <a:off x="11506968" y="6021588"/>
              <a:ext cx="221367" cy="376705"/>
            </a:xfrm>
            <a:custGeom>
              <a:avLst/>
              <a:gdLst/>
              <a:ahLst/>
              <a:cxnLst/>
              <a:rect l="l" t="t" r="r" b="b"/>
              <a:pathLst>
                <a:path w="295909" h="503554">
                  <a:moveTo>
                    <a:pt x="295427" y="0"/>
                  </a:moveTo>
                  <a:lnTo>
                    <a:pt x="167919" y="0"/>
                  </a:lnTo>
                  <a:lnTo>
                    <a:pt x="0" y="503478"/>
                  </a:lnTo>
                  <a:lnTo>
                    <a:pt x="127533" y="503478"/>
                  </a:lnTo>
                  <a:lnTo>
                    <a:pt x="295427"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7" name="object 7"/>
            <p:cNvSpPr/>
            <p:nvPr/>
          </p:nvSpPr>
          <p:spPr>
            <a:xfrm>
              <a:off x="11650210" y="6307746"/>
              <a:ext cx="173389" cy="90732"/>
            </a:xfrm>
            <a:custGeom>
              <a:avLst/>
              <a:gdLst/>
              <a:ahLst/>
              <a:cxnLst/>
              <a:rect l="l" t="t" r="r" b="b"/>
              <a:pathLst>
                <a:path w="231775" h="121284">
                  <a:moveTo>
                    <a:pt x="231432" y="0"/>
                  </a:moveTo>
                  <a:lnTo>
                    <a:pt x="40347" y="0"/>
                  </a:lnTo>
                  <a:lnTo>
                    <a:pt x="0" y="120954"/>
                  </a:lnTo>
                  <a:lnTo>
                    <a:pt x="191160" y="120954"/>
                  </a:lnTo>
                  <a:lnTo>
                    <a:pt x="231432"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Tree>
    <p:extLst>
      <p:ext uri="{BB962C8B-B14F-4D97-AF65-F5344CB8AC3E}">
        <p14:creationId xmlns:p14="http://schemas.microsoft.com/office/powerpoint/2010/main" val="37665688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Introduction presentation">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972319" y="6369099"/>
            <a:ext cx="1152128" cy="363538"/>
          </a:xfrm>
          <a:prstGeom prst="rect">
            <a:avLst/>
          </a:prstGeom>
        </p:spPr>
        <p:txBody>
          <a:bodyPr/>
          <a:lstStyle/>
          <a:p>
            <a:fld id="{C864BB8D-94B4-466C-94BF-D114C83BF951}" type="slidenum">
              <a:rPr lang="en-GB" smtClean="0"/>
              <a:pPr/>
              <a:t>‹#›</a:t>
            </a:fld>
            <a:endParaRPr lang="en-GB"/>
          </a:p>
        </p:txBody>
      </p:sp>
      <p:sp>
        <p:nvSpPr>
          <p:cNvPr id="5" name="Picture Placeholder 4"/>
          <p:cNvSpPr>
            <a:spLocks noGrp="1"/>
          </p:cNvSpPr>
          <p:nvPr>
            <p:ph type="pic" sz="quarter" idx="11"/>
          </p:nvPr>
        </p:nvSpPr>
        <p:spPr>
          <a:xfrm>
            <a:off x="1" y="0"/>
            <a:ext cx="5580062"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p>
            <a:endParaRPr lang="en-GB"/>
          </a:p>
        </p:txBody>
      </p:sp>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4155" y="5904253"/>
            <a:ext cx="885348" cy="540353"/>
          </a:xfrm>
          <a:prstGeom prst="rect">
            <a:avLst/>
          </a:prstGeom>
        </p:spPr>
      </p:pic>
      <p:sp>
        <p:nvSpPr>
          <p:cNvPr id="7" name="Text Placeholder 6"/>
          <p:cNvSpPr>
            <a:spLocks noGrp="1"/>
          </p:cNvSpPr>
          <p:nvPr>
            <p:ph type="body" sz="quarter" idx="12"/>
          </p:nvPr>
        </p:nvSpPr>
        <p:spPr>
          <a:xfrm>
            <a:off x="5148784" y="2339355"/>
            <a:ext cx="5822950" cy="2305050"/>
          </a:xfrm>
        </p:spPr>
        <p:txBody>
          <a:bodyPr/>
          <a:lstStyle>
            <a:lvl1pPr>
              <a:defRPr sz="2998">
                <a:solidFill>
                  <a:schemeClr val="tx2"/>
                </a:solidFill>
              </a:defRPr>
            </a:lvl1pPr>
            <a:lvl2pPr>
              <a:defRPr b="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084235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Background picture white logo">
    <p:spTree>
      <p:nvGrpSpPr>
        <p:cNvPr id="1" name=""/>
        <p:cNvGrpSpPr/>
        <p:nvPr/>
      </p:nvGrpSpPr>
      <p:grpSpPr>
        <a:xfrm>
          <a:off x="0" y="0"/>
          <a:ext cx="0" cy="0"/>
          <a:chOff x="0" y="0"/>
          <a:chExt cx="0" cy="0"/>
        </a:xfrm>
      </p:grpSpPr>
      <p:sp>
        <p:nvSpPr>
          <p:cNvPr id="2" name="Title 1"/>
          <p:cNvSpPr>
            <a:spLocks noGrp="1"/>
          </p:cNvSpPr>
          <p:nvPr>
            <p:ph type="title"/>
          </p:nvPr>
        </p:nvSpPr>
        <p:spPr>
          <a:xfrm>
            <a:off x="936316" y="1992412"/>
            <a:ext cx="10297144" cy="1139825"/>
          </a:xfrm>
        </p:spPr>
        <p:txBody>
          <a:bodyPr/>
          <a:lstStyle>
            <a:lvl1pPr algn="ctr">
              <a:defRPr b="0">
                <a:solidFill>
                  <a:schemeClr val="bg2"/>
                </a:solidFill>
              </a:defRPr>
            </a:lvl1pPr>
          </a:lstStyle>
          <a:p>
            <a:r>
              <a:rPr lang="en-US"/>
              <a:t>Click to edit Master title style</a:t>
            </a:r>
            <a:endParaRPr lang="en-GB"/>
          </a:p>
        </p:txBody>
      </p:sp>
      <p:sp>
        <p:nvSpPr>
          <p:cNvPr id="3" name="Slide Number Placeholder 2"/>
          <p:cNvSpPr>
            <a:spLocks noGrp="1"/>
          </p:cNvSpPr>
          <p:nvPr>
            <p:ph type="sldNum" sz="quarter" idx="10"/>
          </p:nvPr>
        </p:nvSpPr>
        <p:spPr>
          <a:xfrm>
            <a:off x="972319" y="6369099"/>
            <a:ext cx="1152128" cy="363538"/>
          </a:xfrm>
          <a:prstGeom prst="rect">
            <a:avLst/>
          </a:prstGeom>
        </p:spPr>
        <p:txBody>
          <a:bodyPr/>
          <a:lstStyle/>
          <a:p>
            <a:fld id="{C864BB8D-94B4-466C-94BF-D114C83BF951}" type="slidenum">
              <a:rPr lang="en-GB" smtClean="0"/>
              <a:pPr/>
              <a:t>‹#›</a:t>
            </a:fld>
            <a:endParaRPr lang="en-GB"/>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Tree>
    <p:extLst>
      <p:ext uri="{BB962C8B-B14F-4D97-AF65-F5344CB8AC3E}">
        <p14:creationId xmlns:p14="http://schemas.microsoft.com/office/powerpoint/2010/main" val="34910231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ADA55AEA-CE44-4BDE-BFD4-91A7C9CBE104}" type="datetime1">
              <a:rPr lang="en-GB" smtClean="0"/>
              <a:t>16/04/2020</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a:xfrm>
            <a:off x="972319" y="6369099"/>
            <a:ext cx="1152128" cy="363538"/>
          </a:xfrm>
          <a:prstGeom prst="rect">
            <a:avLst/>
          </a:prstGeom>
        </p:spPr>
        <p:txBody>
          <a:bodyPr/>
          <a:lstStyle/>
          <a:p>
            <a:fld id="{1DF9C3AE-ADEC-43A4-ABFF-B9D3057E0680}" type="slidenum">
              <a:rPr lang="en-GB" smtClean="0"/>
              <a:t>‹#›</a:t>
            </a:fld>
            <a:endParaRPr lang="en-GB"/>
          </a:p>
        </p:txBody>
      </p:sp>
    </p:spTree>
    <p:extLst>
      <p:ext uri="{BB962C8B-B14F-4D97-AF65-F5344CB8AC3E}">
        <p14:creationId xmlns:p14="http://schemas.microsoft.com/office/powerpoint/2010/main" val="24198390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lose ups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4" name="Picture Placeholder 4"/>
          <p:cNvSpPr>
            <a:spLocks noGrp="1"/>
          </p:cNvSpPr>
          <p:nvPr>
            <p:ph type="pic" sz="quarter" idx="12"/>
          </p:nvPr>
        </p:nvSpPr>
        <p:spPr>
          <a:xfrm>
            <a:off x="5051684" y="1680210"/>
            <a:ext cx="3444632" cy="3180218"/>
          </a:xfrm>
        </p:spPr>
        <p:txBody>
          <a:bodyPr/>
          <a:lstStyle/>
          <a:p>
            <a:endParaRPr lang="fr-FR"/>
          </a:p>
        </p:txBody>
      </p:sp>
      <p:sp>
        <p:nvSpPr>
          <p:cNvPr id="5" name="Picture Placeholder 4"/>
          <p:cNvSpPr>
            <a:spLocks noGrp="1"/>
          </p:cNvSpPr>
          <p:nvPr>
            <p:ph type="pic" sz="quarter" idx="13"/>
          </p:nvPr>
        </p:nvSpPr>
        <p:spPr>
          <a:xfrm>
            <a:off x="8725143" y="1680210"/>
            <a:ext cx="3444632" cy="3180218"/>
          </a:xfrm>
        </p:spPr>
        <p:txBody>
          <a:bodyPr/>
          <a:lstStyle/>
          <a:p>
            <a:endParaRPr lang="fr-FR"/>
          </a:p>
        </p:txBody>
      </p:sp>
      <p:sp>
        <p:nvSpPr>
          <p:cNvPr id="6" name="Text Placeholder 15"/>
          <p:cNvSpPr>
            <a:spLocks noGrp="1"/>
          </p:cNvSpPr>
          <p:nvPr>
            <p:ph type="body" sz="quarter" idx="17"/>
          </p:nvPr>
        </p:nvSpPr>
        <p:spPr>
          <a:xfrm>
            <a:off x="1188343" y="5076230"/>
            <a:ext cx="3634482" cy="360263"/>
          </a:xfrm>
        </p:spPr>
        <p:txBody>
          <a:bodyPr>
            <a:noAutofit/>
          </a:bodyPr>
          <a:lstStyle>
            <a:lvl1pPr>
              <a:defRPr sz="1600"/>
            </a:lvl1pPr>
          </a:lstStyle>
          <a:p>
            <a:pPr lvl="0"/>
            <a:r>
              <a:rPr lang="en-US" dirty="0"/>
              <a:t>Edit Master text styles</a:t>
            </a:r>
          </a:p>
        </p:txBody>
      </p:sp>
      <p:sp>
        <p:nvSpPr>
          <p:cNvPr id="7" name="Text Placeholder 15"/>
          <p:cNvSpPr>
            <a:spLocks noGrp="1"/>
          </p:cNvSpPr>
          <p:nvPr>
            <p:ph type="body" sz="quarter" idx="18"/>
          </p:nvPr>
        </p:nvSpPr>
        <p:spPr>
          <a:xfrm>
            <a:off x="5042822" y="5076230"/>
            <a:ext cx="3444907" cy="360263"/>
          </a:xfrm>
        </p:spPr>
        <p:txBody>
          <a:bodyPr>
            <a:noAutofit/>
          </a:bodyPr>
          <a:lstStyle>
            <a:lvl1pPr>
              <a:defRPr sz="1600"/>
            </a:lvl1pPr>
          </a:lstStyle>
          <a:p>
            <a:pPr lvl="0"/>
            <a:r>
              <a:rPr lang="en-US" dirty="0"/>
              <a:t>Edit Master text styles</a:t>
            </a:r>
          </a:p>
        </p:txBody>
      </p:sp>
      <p:sp>
        <p:nvSpPr>
          <p:cNvPr id="8" name="Text Placeholder 15"/>
          <p:cNvSpPr>
            <a:spLocks noGrp="1"/>
          </p:cNvSpPr>
          <p:nvPr>
            <p:ph type="body" sz="quarter" idx="19"/>
          </p:nvPr>
        </p:nvSpPr>
        <p:spPr>
          <a:xfrm>
            <a:off x="8707694" y="5076230"/>
            <a:ext cx="3444907" cy="360263"/>
          </a:xfrm>
        </p:spPr>
        <p:txBody>
          <a:bodyPr>
            <a:noAutofit/>
          </a:bodyPr>
          <a:lstStyle>
            <a:lvl1pPr>
              <a:defRPr sz="1600"/>
            </a:lvl1pPr>
          </a:lstStyle>
          <a:p>
            <a:pPr lvl="0"/>
            <a:r>
              <a:rPr lang="en-US" dirty="0"/>
              <a:t>Edit Master text styles</a:t>
            </a:r>
          </a:p>
        </p:txBody>
      </p:sp>
      <p:sp>
        <p:nvSpPr>
          <p:cNvPr id="9" name="Picture Placeholder 28"/>
          <p:cNvSpPr>
            <a:spLocks noGrp="1"/>
          </p:cNvSpPr>
          <p:nvPr>
            <p:ph type="pic" sz="quarter" idx="20"/>
          </p:nvPr>
        </p:nvSpPr>
        <p:spPr>
          <a:xfrm>
            <a:off x="1239053" y="1680210"/>
            <a:ext cx="3583772" cy="3161274"/>
          </a:xfrm>
          <a:custGeom>
            <a:avLst/>
            <a:gdLst>
              <a:gd name="connsiteX0" fmla="*/ 0 w 3444875"/>
              <a:gd name="connsiteY0" fmla="*/ 3149699 h 3149699"/>
              <a:gd name="connsiteX1" fmla="*/ 787425 w 3444875"/>
              <a:gd name="connsiteY1" fmla="*/ 0 h 3149699"/>
              <a:gd name="connsiteX2" fmla="*/ 3444875 w 3444875"/>
              <a:gd name="connsiteY2" fmla="*/ 0 h 3149699"/>
              <a:gd name="connsiteX3" fmla="*/ 2657450 w 3444875"/>
              <a:gd name="connsiteY3" fmla="*/ 3149699 h 3149699"/>
              <a:gd name="connsiteX4" fmla="*/ 0 w 3444875"/>
              <a:gd name="connsiteY4" fmla="*/ 3149699 h 3149699"/>
              <a:gd name="connsiteX0" fmla="*/ 0 w 3444875"/>
              <a:gd name="connsiteY0" fmla="*/ 3149699 h 3161274"/>
              <a:gd name="connsiteX1" fmla="*/ 787425 w 3444875"/>
              <a:gd name="connsiteY1" fmla="*/ 0 h 3161274"/>
              <a:gd name="connsiteX2" fmla="*/ 3444875 w 3444875"/>
              <a:gd name="connsiteY2" fmla="*/ 0 h 3161274"/>
              <a:gd name="connsiteX3" fmla="*/ 3375081 w 3444875"/>
              <a:gd name="connsiteY3" fmla="*/ 3161274 h 3161274"/>
              <a:gd name="connsiteX4" fmla="*/ 0 w 3444875"/>
              <a:gd name="connsiteY4" fmla="*/ 3149699 h 3161274"/>
              <a:gd name="connsiteX0" fmla="*/ 0 w 3444875"/>
              <a:gd name="connsiteY0" fmla="*/ 3149699 h 3161274"/>
              <a:gd name="connsiteX1" fmla="*/ 787425 w 3444875"/>
              <a:gd name="connsiteY1" fmla="*/ 0 h 3161274"/>
              <a:gd name="connsiteX2" fmla="*/ 3444875 w 3444875"/>
              <a:gd name="connsiteY2" fmla="*/ 0 h 3161274"/>
              <a:gd name="connsiteX3" fmla="*/ 3432955 w 3444875"/>
              <a:gd name="connsiteY3" fmla="*/ 3161274 h 3161274"/>
              <a:gd name="connsiteX4" fmla="*/ 0 w 3444875"/>
              <a:gd name="connsiteY4" fmla="*/ 3149699 h 3161274"/>
              <a:gd name="connsiteX0" fmla="*/ 0 w 3583772"/>
              <a:gd name="connsiteY0" fmla="*/ 3161274 h 3161274"/>
              <a:gd name="connsiteX1" fmla="*/ 926322 w 3583772"/>
              <a:gd name="connsiteY1" fmla="*/ 0 h 3161274"/>
              <a:gd name="connsiteX2" fmla="*/ 3583772 w 3583772"/>
              <a:gd name="connsiteY2" fmla="*/ 0 h 3161274"/>
              <a:gd name="connsiteX3" fmla="*/ 3571852 w 3583772"/>
              <a:gd name="connsiteY3" fmla="*/ 3161274 h 3161274"/>
              <a:gd name="connsiteX4" fmla="*/ 0 w 3583772"/>
              <a:gd name="connsiteY4" fmla="*/ 3161274 h 3161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3772" h="3161274">
                <a:moveTo>
                  <a:pt x="0" y="3161274"/>
                </a:moveTo>
                <a:lnTo>
                  <a:pt x="926322" y="0"/>
                </a:lnTo>
                <a:lnTo>
                  <a:pt x="3583772" y="0"/>
                </a:lnTo>
                <a:cubicBezTo>
                  <a:pt x="3579799" y="1053758"/>
                  <a:pt x="3575825" y="2107516"/>
                  <a:pt x="3571852" y="3161274"/>
                </a:cubicBezTo>
                <a:lnTo>
                  <a:pt x="0" y="3161274"/>
                </a:lnTo>
                <a:close/>
              </a:path>
            </a:pathLst>
          </a:custGeom>
          <a:noFill/>
        </p:spPr>
        <p:txBody>
          <a:bodyPr/>
          <a:lstStyle/>
          <a:p>
            <a:endParaRPr lang="fr-FR"/>
          </a:p>
        </p:txBody>
      </p:sp>
      <p:sp>
        <p:nvSpPr>
          <p:cNvPr id="11"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7 – All rights reserved</a:t>
            </a:r>
            <a:endParaRPr lang="fr-FR" dirty="0"/>
          </a:p>
        </p:txBody>
      </p:sp>
    </p:spTree>
    <p:extLst>
      <p:ext uri="{BB962C8B-B14F-4D97-AF65-F5344CB8AC3E}">
        <p14:creationId xmlns:p14="http://schemas.microsoft.com/office/powerpoint/2010/main" val="3403936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troduction presentation">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5"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p>
            <a:endParaRPr lang="en-GB"/>
          </a:p>
        </p:txBody>
      </p:sp>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4155" y="5904252"/>
            <a:ext cx="885348" cy="540353"/>
          </a:xfrm>
          <a:prstGeom prst="rect">
            <a:avLst/>
          </a:prstGeom>
        </p:spPr>
      </p:pic>
      <p:sp>
        <p:nvSpPr>
          <p:cNvPr id="7" name="Text Placeholder 6"/>
          <p:cNvSpPr>
            <a:spLocks noGrp="1"/>
          </p:cNvSpPr>
          <p:nvPr>
            <p:ph type="body" sz="quarter" idx="12"/>
          </p:nvPr>
        </p:nvSpPr>
        <p:spPr>
          <a:xfrm>
            <a:off x="5148783" y="2339355"/>
            <a:ext cx="5822950" cy="2305050"/>
          </a:xfrm>
        </p:spPr>
        <p:txBody>
          <a:bodyPr/>
          <a:lstStyle>
            <a:lvl1pPr>
              <a:defRPr sz="4000">
                <a:solidFill>
                  <a:schemeClr val="tx2"/>
                </a:solidFill>
              </a:defRPr>
            </a:lvl1pPr>
            <a:lvl2pPr>
              <a:defRPr b="0"/>
            </a:lvl2pPr>
          </a:lstStyle>
          <a:p>
            <a:pPr lvl="0"/>
            <a:r>
              <a:rPr lang="en-US"/>
              <a:t>Click to edit Master text styles</a:t>
            </a:r>
          </a:p>
          <a:p>
            <a:pPr lvl="1"/>
            <a:r>
              <a:rPr lang="en-US"/>
              <a:t>Second level</a:t>
            </a:r>
          </a:p>
        </p:txBody>
      </p:sp>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8 – All rights reserved</a:t>
            </a:r>
            <a:endParaRPr lang="fr-FR"/>
          </a:p>
        </p:txBody>
      </p:sp>
    </p:spTree>
    <p:extLst>
      <p:ext uri="{BB962C8B-B14F-4D97-AF65-F5344CB8AC3E}">
        <p14:creationId xmlns:p14="http://schemas.microsoft.com/office/powerpoint/2010/main" val="4737989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tandard page">
    <p:spTree>
      <p:nvGrpSpPr>
        <p:cNvPr id="1" name=""/>
        <p:cNvGrpSpPr/>
        <p:nvPr/>
      </p:nvGrpSpPr>
      <p:grpSpPr>
        <a:xfrm>
          <a:off x="0" y="0"/>
          <a:ext cx="0" cy="0"/>
          <a:chOff x="0" y="0"/>
          <a:chExt cx="0" cy="0"/>
        </a:xfrm>
      </p:grpSpPr>
      <p:sp>
        <p:nvSpPr>
          <p:cNvPr id="2" name="Title 1"/>
          <p:cNvSpPr>
            <a:spLocks noGrp="1"/>
          </p:cNvSpPr>
          <p:nvPr>
            <p:ph type="title"/>
          </p:nvPr>
        </p:nvSpPr>
        <p:spPr>
          <a:xfrm>
            <a:off x="972319" y="408236"/>
            <a:ext cx="10297144" cy="1139825"/>
          </a:xfrm>
        </p:spPr>
        <p:txBody>
          <a:bodyPr/>
          <a:lstStyle/>
          <a:p>
            <a:r>
              <a:rPr lang="en-US"/>
              <a:t>Click to edit Master title style</a:t>
            </a:r>
            <a:endParaRPr lang="en-GB"/>
          </a:p>
        </p:txBody>
      </p:sp>
      <p:sp>
        <p:nvSpPr>
          <p:cNvPr id="3" name="Slide Number Placeholder 2"/>
          <p:cNvSpPr>
            <a:spLocks noGrp="1"/>
          </p:cNvSpPr>
          <p:nvPr>
            <p:ph type="sldNum" sz="quarter" idx="10"/>
          </p:nvPr>
        </p:nvSpPr>
        <p:spPr>
          <a:xfrm>
            <a:off x="468263" y="6369099"/>
            <a:ext cx="503287" cy="363538"/>
          </a:xfrm>
        </p:spPr>
        <p:txBody>
          <a:bodyPr/>
          <a:lstStyle>
            <a:lvl1pPr>
              <a:defRPr sz="1000"/>
            </a:lvl1pPr>
          </a:lstStyle>
          <a:p>
            <a:fld id="{C864BB8D-94B4-466C-94BF-D114C83BF951}" type="slidenum">
              <a:rPr lang="en-GB" smtClean="0"/>
              <a:pPr/>
              <a:t>‹#›</a:t>
            </a:fld>
            <a:endParaRPr lang="en-GB"/>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4155" y="5904252"/>
            <a:ext cx="885348" cy="540353"/>
          </a:xfrm>
          <a:prstGeom prst="rect">
            <a:avLst/>
          </a:prstGeom>
        </p:spPr>
      </p:pic>
      <p:sp>
        <p:nvSpPr>
          <p:cNvPr id="7" name="Text Placeholder 6"/>
          <p:cNvSpPr>
            <a:spLocks noGrp="1"/>
          </p:cNvSpPr>
          <p:nvPr>
            <p:ph type="body" sz="quarter" idx="11"/>
          </p:nvPr>
        </p:nvSpPr>
        <p:spPr>
          <a:xfrm>
            <a:off x="971550" y="2001600"/>
            <a:ext cx="10297913" cy="3959671"/>
          </a:xfrm>
        </p:spPr>
        <p:txBody>
          <a:bodyPr/>
          <a:lstStyle>
            <a:lvl2pPr marL="174625" indent="-174625">
              <a:defRPr b="0"/>
            </a:lvl2pPr>
            <a:lvl3pPr marL="446088" indent="-182563">
              <a:defRPr/>
            </a:lvl3pPr>
          </a:lstStyle>
          <a:p>
            <a:pPr lvl="0"/>
            <a:r>
              <a:rPr lang="en-US"/>
              <a:t>Click to edit Master text styles</a:t>
            </a:r>
          </a:p>
          <a:p>
            <a:pPr lvl="1"/>
            <a:r>
              <a:rPr lang="en-US"/>
              <a:t>Second level</a:t>
            </a:r>
          </a:p>
          <a:p>
            <a:pPr lvl="2"/>
            <a:r>
              <a:rPr lang="en-US"/>
              <a:t>Third level</a:t>
            </a:r>
          </a:p>
        </p:txBody>
      </p:sp>
      <p:sp>
        <p:nvSpPr>
          <p:cNvPr id="9"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8 – All rights reserved</a:t>
            </a:r>
            <a:endParaRPr lang="fr-FR"/>
          </a:p>
        </p:txBody>
      </p:sp>
    </p:spTree>
    <p:extLst>
      <p:ext uri="{BB962C8B-B14F-4D97-AF65-F5344CB8AC3E}">
        <p14:creationId xmlns:p14="http://schemas.microsoft.com/office/powerpoint/2010/main" val="13621602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lose ups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4" name="Picture Placeholder 4"/>
          <p:cNvSpPr>
            <a:spLocks noGrp="1"/>
          </p:cNvSpPr>
          <p:nvPr>
            <p:ph type="pic" sz="quarter" idx="12"/>
          </p:nvPr>
        </p:nvSpPr>
        <p:spPr>
          <a:xfrm>
            <a:off x="5051684" y="1680210"/>
            <a:ext cx="3444632" cy="3180218"/>
          </a:xfrm>
        </p:spPr>
        <p:txBody>
          <a:bodyPr/>
          <a:lstStyle/>
          <a:p>
            <a:endParaRPr lang="fr-FR"/>
          </a:p>
        </p:txBody>
      </p:sp>
      <p:sp>
        <p:nvSpPr>
          <p:cNvPr id="5" name="Picture Placeholder 4"/>
          <p:cNvSpPr>
            <a:spLocks noGrp="1"/>
          </p:cNvSpPr>
          <p:nvPr>
            <p:ph type="pic" sz="quarter" idx="13"/>
          </p:nvPr>
        </p:nvSpPr>
        <p:spPr>
          <a:xfrm>
            <a:off x="8725143" y="1680210"/>
            <a:ext cx="3444632" cy="3180218"/>
          </a:xfrm>
        </p:spPr>
        <p:txBody>
          <a:bodyPr/>
          <a:lstStyle/>
          <a:p>
            <a:endParaRPr lang="fr-FR"/>
          </a:p>
        </p:txBody>
      </p:sp>
      <p:sp>
        <p:nvSpPr>
          <p:cNvPr id="6" name="Text Placeholder 15"/>
          <p:cNvSpPr>
            <a:spLocks noGrp="1"/>
          </p:cNvSpPr>
          <p:nvPr>
            <p:ph type="body" sz="quarter" idx="17"/>
          </p:nvPr>
        </p:nvSpPr>
        <p:spPr>
          <a:xfrm>
            <a:off x="1188343" y="5076230"/>
            <a:ext cx="3634482" cy="360263"/>
          </a:xfrm>
        </p:spPr>
        <p:txBody>
          <a:bodyPr>
            <a:noAutofit/>
          </a:bodyPr>
          <a:lstStyle>
            <a:lvl1pPr>
              <a:defRPr sz="1600"/>
            </a:lvl1pPr>
          </a:lstStyle>
          <a:p>
            <a:pPr lvl="0"/>
            <a:r>
              <a:rPr lang="en-US"/>
              <a:t>Edit Master text styles</a:t>
            </a:r>
          </a:p>
        </p:txBody>
      </p:sp>
      <p:sp>
        <p:nvSpPr>
          <p:cNvPr id="7" name="Text Placeholder 15"/>
          <p:cNvSpPr>
            <a:spLocks noGrp="1"/>
          </p:cNvSpPr>
          <p:nvPr>
            <p:ph type="body" sz="quarter" idx="18"/>
          </p:nvPr>
        </p:nvSpPr>
        <p:spPr>
          <a:xfrm>
            <a:off x="5042822" y="5076230"/>
            <a:ext cx="3444907" cy="360263"/>
          </a:xfrm>
        </p:spPr>
        <p:txBody>
          <a:bodyPr>
            <a:noAutofit/>
          </a:bodyPr>
          <a:lstStyle>
            <a:lvl1pPr>
              <a:defRPr sz="1600"/>
            </a:lvl1pPr>
          </a:lstStyle>
          <a:p>
            <a:pPr lvl="0"/>
            <a:r>
              <a:rPr lang="en-US"/>
              <a:t>Edit Master text styles</a:t>
            </a:r>
          </a:p>
        </p:txBody>
      </p:sp>
      <p:sp>
        <p:nvSpPr>
          <p:cNvPr id="8" name="Text Placeholder 15"/>
          <p:cNvSpPr>
            <a:spLocks noGrp="1"/>
          </p:cNvSpPr>
          <p:nvPr>
            <p:ph type="body" sz="quarter" idx="19"/>
          </p:nvPr>
        </p:nvSpPr>
        <p:spPr>
          <a:xfrm>
            <a:off x="8707694" y="5076230"/>
            <a:ext cx="3444907" cy="360263"/>
          </a:xfrm>
        </p:spPr>
        <p:txBody>
          <a:bodyPr>
            <a:noAutofit/>
          </a:bodyPr>
          <a:lstStyle>
            <a:lvl1pPr>
              <a:defRPr sz="1600"/>
            </a:lvl1pPr>
          </a:lstStyle>
          <a:p>
            <a:pPr lvl="0"/>
            <a:r>
              <a:rPr lang="en-US"/>
              <a:t>Edit Master text styles</a:t>
            </a:r>
          </a:p>
        </p:txBody>
      </p:sp>
      <p:sp>
        <p:nvSpPr>
          <p:cNvPr id="9" name="Picture Placeholder 28"/>
          <p:cNvSpPr>
            <a:spLocks noGrp="1"/>
          </p:cNvSpPr>
          <p:nvPr>
            <p:ph type="pic" sz="quarter" idx="20"/>
          </p:nvPr>
        </p:nvSpPr>
        <p:spPr>
          <a:xfrm>
            <a:off x="1239053" y="1680210"/>
            <a:ext cx="3583772" cy="3161274"/>
          </a:xfrm>
          <a:custGeom>
            <a:avLst/>
            <a:gdLst>
              <a:gd name="connsiteX0" fmla="*/ 0 w 3444875"/>
              <a:gd name="connsiteY0" fmla="*/ 3149699 h 3149699"/>
              <a:gd name="connsiteX1" fmla="*/ 787425 w 3444875"/>
              <a:gd name="connsiteY1" fmla="*/ 0 h 3149699"/>
              <a:gd name="connsiteX2" fmla="*/ 3444875 w 3444875"/>
              <a:gd name="connsiteY2" fmla="*/ 0 h 3149699"/>
              <a:gd name="connsiteX3" fmla="*/ 2657450 w 3444875"/>
              <a:gd name="connsiteY3" fmla="*/ 3149699 h 3149699"/>
              <a:gd name="connsiteX4" fmla="*/ 0 w 3444875"/>
              <a:gd name="connsiteY4" fmla="*/ 3149699 h 3149699"/>
              <a:gd name="connsiteX0" fmla="*/ 0 w 3444875"/>
              <a:gd name="connsiteY0" fmla="*/ 3149699 h 3161274"/>
              <a:gd name="connsiteX1" fmla="*/ 787425 w 3444875"/>
              <a:gd name="connsiteY1" fmla="*/ 0 h 3161274"/>
              <a:gd name="connsiteX2" fmla="*/ 3444875 w 3444875"/>
              <a:gd name="connsiteY2" fmla="*/ 0 h 3161274"/>
              <a:gd name="connsiteX3" fmla="*/ 3375081 w 3444875"/>
              <a:gd name="connsiteY3" fmla="*/ 3161274 h 3161274"/>
              <a:gd name="connsiteX4" fmla="*/ 0 w 3444875"/>
              <a:gd name="connsiteY4" fmla="*/ 3149699 h 3161274"/>
              <a:gd name="connsiteX0" fmla="*/ 0 w 3444875"/>
              <a:gd name="connsiteY0" fmla="*/ 3149699 h 3161274"/>
              <a:gd name="connsiteX1" fmla="*/ 787425 w 3444875"/>
              <a:gd name="connsiteY1" fmla="*/ 0 h 3161274"/>
              <a:gd name="connsiteX2" fmla="*/ 3444875 w 3444875"/>
              <a:gd name="connsiteY2" fmla="*/ 0 h 3161274"/>
              <a:gd name="connsiteX3" fmla="*/ 3432955 w 3444875"/>
              <a:gd name="connsiteY3" fmla="*/ 3161274 h 3161274"/>
              <a:gd name="connsiteX4" fmla="*/ 0 w 3444875"/>
              <a:gd name="connsiteY4" fmla="*/ 3149699 h 3161274"/>
              <a:gd name="connsiteX0" fmla="*/ 0 w 3583772"/>
              <a:gd name="connsiteY0" fmla="*/ 3161274 h 3161274"/>
              <a:gd name="connsiteX1" fmla="*/ 926322 w 3583772"/>
              <a:gd name="connsiteY1" fmla="*/ 0 h 3161274"/>
              <a:gd name="connsiteX2" fmla="*/ 3583772 w 3583772"/>
              <a:gd name="connsiteY2" fmla="*/ 0 h 3161274"/>
              <a:gd name="connsiteX3" fmla="*/ 3571852 w 3583772"/>
              <a:gd name="connsiteY3" fmla="*/ 3161274 h 3161274"/>
              <a:gd name="connsiteX4" fmla="*/ 0 w 3583772"/>
              <a:gd name="connsiteY4" fmla="*/ 3161274 h 3161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3772" h="3161274">
                <a:moveTo>
                  <a:pt x="0" y="3161274"/>
                </a:moveTo>
                <a:lnTo>
                  <a:pt x="926322" y="0"/>
                </a:lnTo>
                <a:lnTo>
                  <a:pt x="3583772" y="0"/>
                </a:lnTo>
                <a:cubicBezTo>
                  <a:pt x="3579799" y="1053758"/>
                  <a:pt x="3575825" y="2107516"/>
                  <a:pt x="3571852" y="3161274"/>
                </a:cubicBezTo>
                <a:lnTo>
                  <a:pt x="0" y="3161274"/>
                </a:lnTo>
                <a:close/>
              </a:path>
            </a:pathLst>
          </a:custGeom>
          <a:noFill/>
        </p:spPr>
        <p:txBody>
          <a:bodyPr/>
          <a:lstStyle/>
          <a:p>
            <a:endParaRPr lang="fr-FR"/>
          </a:p>
        </p:txBody>
      </p:sp>
      <p:sp>
        <p:nvSpPr>
          <p:cNvPr id="11"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8 – All rights reserved</a:t>
            </a:r>
            <a:endParaRPr lang="fr-FR"/>
          </a:p>
        </p:txBody>
      </p:sp>
    </p:spTree>
    <p:extLst>
      <p:ext uri="{BB962C8B-B14F-4D97-AF65-F5344CB8AC3E}">
        <p14:creationId xmlns:p14="http://schemas.microsoft.com/office/powerpoint/2010/main" val="28450967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lumns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7" name="Content Placeholder 6"/>
          <p:cNvSpPr>
            <a:spLocks noGrp="1"/>
          </p:cNvSpPr>
          <p:nvPr>
            <p:ph sz="quarter" idx="11"/>
          </p:nvPr>
        </p:nvSpPr>
        <p:spPr>
          <a:xfrm>
            <a:off x="972319" y="1692077"/>
            <a:ext cx="4680520" cy="3888432"/>
          </a:xfrm>
        </p:spPr>
        <p:txBody>
          <a:bodyPr/>
          <a:lstStyle>
            <a:lvl2pPr>
              <a:defRPr b="0"/>
            </a:lvl2pPr>
          </a:lstStyle>
          <a:p>
            <a:pPr lvl="0"/>
            <a:r>
              <a:rPr lang="en-US"/>
              <a:t>Click to edit Master text styles</a:t>
            </a:r>
          </a:p>
          <a:p>
            <a:pPr lvl="1"/>
            <a:r>
              <a:rPr lang="en-US"/>
              <a:t>Second level</a:t>
            </a:r>
          </a:p>
          <a:p>
            <a:pPr lvl="2"/>
            <a:r>
              <a:rPr lang="en-US"/>
              <a:t>Third level</a:t>
            </a:r>
          </a:p>
        </p:txBody>
      </p:sp>
      <p:sp>
        <p:nvSpPr>
          <p:cNvPr id="9" name="Content Placeholder 8"/>
          <p:cNvSpPr>
            <a:spLocks noGrp="1"/>
          </p:cNvSpPr>
          <p:nvPr>
            <p:ph sz="quarter" idx="12"/>
          </p:nvPr>
        </p:nvSpPr>
        <p:spPr>
          <a:xfrm>
            <a:off x="6228903" y="1692077"/>
            <a:ext cx="5040312" cy="3888234"/>
          </a:xfrm>
        </p:spPr>
        <p:txBody>
          <a:bodyPr/>
          <a:lstStyle>
            <a:lvl2pPr>
              <a:defRPr b="0"/>
            </a:lvl2pPr>
          </a:lstStyle>
          <a:p>
            <a:pPr lvl="0"/>
            <a:r>
              <a:rPr lang="en-US"/>
              <a:t>Click to edit Master text styles</a:t>
            </a:r>
          </a:p>
          <a:p>
            <a:pPr lvl="1"/>
            <a:r>
              <a:rPr lang="en-US"/>
              <a:t>Second level</a:t>
            </a:r>
          </a:p>
          <a:p>
            <a:pPr lvl="2"/>
            <a:r>
              <a:rPr lang="en-US"/>
              <a:t>Third level</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4155" y="5904252"/>
            <a:ext cx="885348" cy="540353"/>
          </a:xfrm>
          <a:prstGeom prst="rect">
            <a:avLst/>
          </a:prstGeom>
        </p:spPr>
      </p:pic>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8 – All rights reserved</a:t>
            </a:r>
            <a:endParaRPr lang="fr-FR"/>
          </a:p>
        </p:txBody>
      </p:sp>
    </p:spTree>
    <p:extLst>
      <p:ext uri="{BB962C8B-B14F-4D97-AF65-F5344CB8AC3E}">
        <p14:creationId xmlns:p14="http://schemas.microsoft.com/office/powerpoint/2010/main" val="41022887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pter pa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0165" y="1908101"/>
            <a:ext cx="10589444" cy="995809"/>
          </a:xfrm>
        </p:spPr>
        <p:txBody>
          <a:bodyPr>
            <a:noAutofit/>
          </a:bodyPr>
          <a:lstStyle>
            <a:lvl1pPr algn="ctr">
              <a:defRPr sz="5400">
                <a:solidFill>
                  <a:schemeClr val="bg2"/>
                </a:solidFill>
              </a:defRPr>
            </a:lvl1pPr>
          </a:lstStyle>
          <a:p>
            <a:r>
              <a:rPr lang="en-US"/>
              <a:t>Click to edit Master title sty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7"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8 – All rights reserved</a:t>
            </a:r>
            <a:endParaRPr lang="fr-FR"/>
          </a:p>
        </p:txBody>
      </p:sp>
    </p:spTree>
    <p:extLst>
      <p:ext uri="{BB962C8B-B14F-4D97-AF65-F5344CB8AC3E}">
        <p14:creationId xmlns:p14="http://schemas.microsoft.com/office/powerpoint/2010/main" val="7992581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ramed picture + coloured slide">
    <p:bg>
      <p:bgPr>
        <a:solidFill>
          <a:schemeClr val="tx2"/>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lvl1pPr>
              <a:defRPr>
                <a:solidFill>
                  <a:schemeClr val="bg1"/>
                </a:solidFill>
              </a:defRPr>
            </a:lvl1pPr>
          </a:lstStyle>
          <a:p>
            <a:endParaRPr lang="en-GB"/>
          </a:p>
        </p:txBody>
      </p:sp>
      <p:sp>
        <p:nvSpPr>
          <p:cNvPr id="2" name="Title 1"/>
          <p:cNvSpPr>
            <a:spLocks noGrp="1"/>
          </p:cNvSpPr>
          <p:nvPr>
            <p:ph type="title"/>
          </p:nvPr>
        </p:nvSpPr>
        <p:spPr>
          <a:xfrm>
            <a:off x="5724847" y="1980109"/>
            <a:ext cx="5654762" cy="2940025"/>
          </a:xfrm>
        </p:spPr>
        <p:txBody>
          <a:bodyPr>
            <a:noAutofit/>
          </a:bodyPr>
          <a:lstStyle>
            <a:lvl1pPr algn="ctr">
              <a:defRPr sz="4000">
                <a:solidFill>
                  <a:schemeClr val="bg2"/>
                </a:solidFill>
              </a:defRPr>
            </a:lvl1pPr>
          </a:lstStyle>
          <a:p>
            <a:r>
              <a:rPr lang="en-US"/>
              <a:t>Click to edit Master title sty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8"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8 – All rights reserved</a:t>
            </a:r>
            <a:endParaRPr lang="fr-FR"/>
          </a:p>
        </p:txBody>
      </p:sp>
    </p:spTree>
    <p:extLst>
      <p:ext uri="{BB962C8B-B14F-4D97-AF65-F5344CB8AC3E}">
        <p14:creationId xmlns:p14="http://schemas.microsoft.com/office/powerpoint/2010/main" val="26224085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loured 5th element and background picture">
    <p:bg>
      <p:bgPr>
        <a:solidFill>
          <a:schemeClr val="tx2"/>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p>
            <a:endParaRPr lang="en-GB"/>
          </a:p>
        </p:txBody>
      </p:sp>
      <p:sp>
        <p:nvSpPr>
          <p:cNvPr id="2" name="Title 1"/>
          <p:cNvSpPr>
            <a:spLocks noGrp="1"/>
          </p:cNvSpPr>
          <p:nvPr>
            <p:ph type="title"/>
          </p:nvPr>
        </p:nvSpPr>
        <p:spPr>
          <a:xfrm>
            <a:off x="8206989" y="2484165"/>
            <a:ext cx="3566530" cy="2940025"/>
          </a:xfrm>
        </p:spPr>
        <p:txBody>
          <a:bodyPr>
            <a:noAutofit/>
          </a:bodyPr>
          <a:lstStyle>
            <a:lvl1pPr algn="r">
              <a:defRPr sz="4000">
                <a:solidFill>
                  <a:schemeClr val="bg2"/>
                </a:solidFill>
              </a:defRPr>
            </a:lvl1pPr>
          </a:lstStyle>
          <a:p>
            <a:r>
              <a:rPr lang="en-US"/>
              <a:t>Click to edit Master title sty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4" name="Text Placeholder 3"/>
          <p:cNvSpPr>
            <a:spLocks noGrp="1"/>
          </p:cNvSpPr>
          <p:nvPr>
            <p:ph type="body" sz="quarter" idx="13"/>
          </p:nvPr>
        </p:nvSpPr>
        <p:spPr>
          <a:xfrm>
            <a:off x="467742" y="467941"/>
            <a:ext cx="2880841" cy="4608512"/>
          </a:xfrm>
        </p:spPr>
        <p:txBody>
          <a:bodyPr/>
          <a:lstStyle>
            <a:lvl1pPr>
              <a:defRPr sz="4000">
                <a:solidFill>
                  <a:schemeClr val="bg2"/>
                </a:solidFill>
              </a:defRPr>
            </a:lvl1pPr>
          </a:lstStyle>
          <a:p>
            <a:pPr lvl="0"/>
            <a:r>
              <a:rPr lang="en-US"/>
              <a:t>Edit Master text styles</a:t>
            </a:r>
          </a:p>
        </p:txBody>
      </p:sp>
      <p:sp>
        <p:nvSpPr>
          <p:cNvPr id="8"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8 – All rights reserved</a:t>
            </a:r>
            <a:endParaRPr lang="fr-FR"/>
          </a:p>
        </p:txBody>
      </p:sp>
    </p:spTree>
    <p:extLst>
      <p:ext uri="{BB962C8B-B14F-4D97-AF65-F5344CB8AC3E}">
        <p14:creationId xmlns:p14="http://schemas.microsoft.com/office/powerpoint/2010/main" val="179724195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ackground picture white logo">
    <p:spTree>
      <p:nvGrpSpPr>
        <p:cNvPr id="1" name=""/>
        <p:cNvGrpSpPr/>
        <p:nvPr/>
      </p:nvGrpSpPr>
      <p:grpSpPr>
        <a:xfrm>
          <a:off x="0" y="0"/>
          <a:ext cx="0" cy="0"/>
          <a:chOff x="0" y="0"/>
          <a:chExt cx="0" cy="0"/>
        </a:xfrm>
      </p:grpSpPr>
      <p:sp>
        <p:nvSpPr>
          <p:cNvPr id="2" name="Title 1"/>
          <p:cNvSpPr>
            <a:spLocks noGrp="1"/>
          </p:cNvSpPr>
          <p:nvPr>
            <p:ph type="title"/>
          </p:nvPr>
        </p:nvSpPr>
        <p:spPr>
          <a:xfrm>
            <a:off x="936316" y="1992412"/>
            <a:ext cx="10297144" cy="1139825"/>
          </a:xfrm>
        </p:spPr>
        <p:txBody>
          <a:bodyPr/>
          <a:lstStyle>
            <a:lvl1pPr algn="ctr">
              <a:defRPr b="0">
                <a:solidFill>
                  <a:schemeClr val="bg2"/>
                </a:solidFill>
              </a:defRPr>
            </a:lvl1p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5"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2"/>
                </a:solidFill>
              </a:defRPr>
            </a:lvl1pPr>
          </a:lstStyle>
          <a:p>
            <a:r>
              <a:rPr lang="en-US"/>
              <a:t>© HL Display 2018 – All rights reserved</a:t>
            </a:r>
            <a:endParaRPr lang="fr-FR"/>
          </a:p>
        </p:txBody>
      </p:sp>
    </p:spTree>
    <p:extLst>
      <p:ext uri="{BB962C8B-B14F-4D97-AF65-F5344CB8AC3E}">
        <p14:creationId xmlns:p14="http://schemas.microsoft.com/office/powerpoint/2010/main" val="39874091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Layou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368363" y="1992412"/>
            <a:ext cx="9433048" cy="2291953"/>
          </a:xfrm>
        </p:spPr>
        <p:txBody>
          <a:bodyPr>
            <a:noAutofit/>
          </a:bodyPr>
          <a:lstStyle>
            <a:lvl1pPr algn="ctr">
              <a:defRPr sz="9600" b="1">
                <a:solidFill>
                  <a:schemeClr val="bg2"/>
                </a:solidFill>
              </a:defRPr>
            </a:lvl1pPr>
          </a:lstStyle>
          <a:p>
            <a:r>
              <a:rPr lang="en-US"/>
              <a:t>Click to edit Master title style</a:t>
            </a:r>
            <a:endParaRPr lang="en-GB"/>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7" name="Text Placeholder 6"/>
          <p:cNvSpPr>
            <a:spLocks noGrp="1"/>
          </p:cNvSpPr>
          <p:nvPr>
            <p:ph type="body" sz="quarter" idx="10"/>
          </p:nvPr>
        </p:nvSpPr>
        <p:spPr>
          <a:xfrm>
            <a:off x="468957" y="6156127"/>
            <a:ext cx="4895850" cy="287873"/>
          </a:xfrm>
        </p:spPr>
        <p:txBody>
          <a:bodyPr>
            <a:normAutofit/>
          </a:bodyPr>
          <a:lstStyle>
            <a:lvl1pPr>
              <a:defRPr sz="1300">
                <a:solidFill>
                  <a:schemeClr val="bg2"/>
                </a:solidFill>
              </a:defRPr>
            </a:lvl1pPr>
          </a:lstStyle>
          <a:p>
            <a:pPr lvl="0"/>
            <a:r>
              <a:rPr lang="en-US"/>
              <a:t>Click to edit Master text styles</a:t>
            </a:r>
          </a:p>
        </p:txBody>
      </p:sp>
      <p:grpSp>
        <p:nvGrpSpPr>
          <p:cNvPr id="15" name="Group 14"/>
          <p:cNvGrpSpPr/>
          <p:nvPr userDrawn="1"/>
        </p:nvGrpSpPr>
        <p:grpSpPr>
          <a:xfrm>
            <a:off x="540271" y="5168664"/>
            <a:ext cx="6948999" cy="1004903"/>
            <a:chOff x="360598" y="5168664"/>
            <a:chExt cx="6948999" cy="1004903"/>
          </a:xfrm>
        </p:grpSpPr>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420591" y="5294290"/>
              <a:ext cx="1830986" cy="878185"/>
            </a:xfrm>
            <a:prstGeom prst="rect">
              <a:avLst/>
            </a:prstGeom>
          </p:spPr>
        </p:pic>
        <p:pic>
          <p:nvPicPr>
            <p:cNvPr id="17" name="Picture 1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60598" y="5295382"/>
              <a:ext cx="1584176" cy="878185"/>
            </a:xfrm>
            <a:prstGeom prst="rect">
              <a:avLst/>
            </a:prstGeom>
          </p:spPr>
        </p:pic>
        <p:pic>
          <p:nvPicPr>
            <p:cNvPr id="18" name="Picture 17"/>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806302" y="5168664"/>
              <a:ext cx="1584176" cy="878185"/>
            </a:xfrm>
            <a:prstGeom prst="rect">
              <a:avLst/>
            </a:prstGeom>
          </p:spPr>
        </p:pic>
        <p:pic>
          <p:nvPicPr>
            <p:cNvPr id="19" name="Picture 1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5508823" y="5466782"/>
              <a:ext cx="1800774" cy="532756"/>
            </a:xfrm>
            <a:prstGeom prst="rect">
              <a:avLst/>
            </a:prstGeom>
          </p:spPr>
        </p:pic>
      </p:grpSp>
    </p:spTree>
    <p:extLst>
      <p:ext uri="{BB962C8B-B14F-4D97-AF65-F5344CB8AC3E}">
        <p14:creationId xmlns:p14="http://schemas.microsoft.com/office/powerpoint/2010/main" val="42659784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and textbox">
    <p:bg>
      <p:bgPr>
        <a:solidFill>
          <a:schemeClr val="tx2"/>
        </a:solidFill>
        <a:effectLst/>
      </p:bgPr>
    </p:bg>
    <p:spTree>
      <p:nvGrpSpPr>
        <p:cNvPr id="1" name=""/>
        <p:cNvGrpSpPr/>
        <p:nvPr/>
      </p:nvGrpSpPr>
      <p:grpSpPr>
        <a:xfrm>
          <a:off x="0" y="0"/>
          <a:ext cx="0" cy="0"/>
          <a:chOff x="0" y="0"/>
          <a:chExt cx="0" cy="0"/>
        </a:xfrm>
      </p:grpSpPr>
      <p:sp>
        <p:nvSpPr>
          <p:cNvPr id="2" name="Slide Number Placeholder 2">
            <a:extLst>
              <a:ext uri="{FF2B5EF4-FFF2-40B4-BE49-F238E27FC236}">
                <a16:creationId xmlns:a16="http://schemas.microsoft.com/office/drawing/2014/main" id="{786CFBB8-8929-470F-BC9C-091E894C7D86}"/>
              </a:ext>
            </a:extLst>
          </p:cNvPr>
          <p:cNvSpPr txBox="1">
            <a:spLocks/>
          </p:cNvSpPr>
          <p:nvPr userDrawn="1"/>
        </p:nvSpPr>
        <p:spPr>
          <a:xfrm>
            <a:off x="468263" y="6284168"/>
            <a:ext cx="504056" cy="363538"/>
          </a:xfrm>
          <a:prstGeom prst="rect">
            <a:avLst/>
          </a:prstGeom>
        </p:spPr>
        <p:txBody>
          <a:bodyPr vert="horz" lIns="91440" tIns="45720" rIns="91440" bIns="45720" rtlCol="0" anchor="ctr"/>
          <a:lstStyle>
            <a:defPPr>
              <a:defRPr lang="en-US"/>
            </a:defPPr>
            <a:lvl1pPr algn="l" rtl="0" fontAlgn="base">
              <a:spcBef>
                <a:spcPct val="0"/>
              </a:spcBef>
              <a:spcAft>
                <a:spcPct val="0"/>
              </a:spcAft>
              <a:defRPr sz="1200" kern="1200">
                <a:solidFill>
                  <a:schemeClr val="tx1">
                    <a:tint val="75000"/>
                  </a:schemeClr>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C864BB8D-94B4-466C-94BF-D114C83BF951}" type="slidenum">
              <a:rPr kumimoji="0" lang="en-GB" sz="1200" b="0" i="0" u="none" strike="noStrike" kern="1200" cap="none" spc="0" normalizeH="0" baseline="0" noProof="0" smtClean="0">
                <a:ln>
                  <a:noFill/>
                </a:ln>
                <a:solidFill>
                  <a:srgbClr val="D7CDC8"/>
                </a:solidFill>
                <a:effectLst/>
                <a:uLnTx/>
                <a:uFillTx/>
                <a:latin typeface="Arial" pitchFamily="34" charset="0"/>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GB" sz="1200" b="0" i="0" u="none" strike="noStrike" kern="1200" cap="none" spc="0" normalizeH="0" baseline="0" noProof="0">
              <a:ln>
                <a:noFill/>
              </a:ln>
              <a:solidFill>
                <a:srgbClr val="D7CDC8"/>
              </a:solidFill>
              <a:effectLst/>
              <a:uLnTx/>
              <a:uFillTx/>
              <a:latin typeface="Arial" pitchFamily="34" charset="0"/>
              <a:ea typeface="+mn-ea"/>
              <a:cs typeface="Arial" pitchFamily="34" charset="0"/>
            </a:endParaRPr>
          </a:p>
        </p:txBody>
      </p:sp>
      <p:pic>
        <p:nvPicPr>
          <p:cNvPr id="3" name="Image 3">
            <a:extLst>
              <a:ext uri="{FF2B5EF4-FFF2-40B4-BE49-F238E27FC236}">
                <a16:creationId xmlns:a16="http://schemas.microsoft.com/office/drawing/2014/main" id="{0C35B537-015B-4E9B-B4C6-0671DDC5CEB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016322" y="6163469"/>
            <a:ext cx="661885" cy="413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73816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s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7" name="Content Placeholder 6"/>
          <p:cNvSpPr>
            <a:spLocks noGrp="1"/>
          </p:cNvSpPr>
          <p:nvPr>
            <p:ph sz="quarter" idx="11"/>
          </p:nvPr>
        </p:nvSpPr>
        <p:spPr>
          <a:xfrm>
            <a:off x="972319" y="1692077"/>
            <a:ext cx="4680520" cy="3888432"/>
          </a:xfrm>
        </p:spPr>
        <p:txBody>
          <a:bodyPr/>
          <a:lstStyle>
            <a:lvl2pPr>
              <a:defRPr b="0"/>
            </a:lvl2pPr>
          </a:lstStyle>
          <a:p>
            <a:pPr lvl="0"/>
            <a:r>
              <a:rPr lang="en-US" dirty="0"/>
              <a:t>Click to edit Master text styles</a:t>
            </a:r>
          </a:p>
          <a:p>
            <a:pPr lvl="1"/>
            <a:r>
              <a:rPr lang="en-US" dirty="0"/>
              <a:t>Second level</a:t>
            </a:r>
          </a:p>
          <a:p>
            <a:pPr lvl="2"/>
            <a:r>
              <a:rPr lang="en-US" dirty="0"/>
              <a:t>Third level</a:t>
            </a:r>
          </a:p>
        </p:txBody>
      </p:sp>
      <p:sp>
        <p:nvSpPr>
          <p:cNvPr id="9" name="Content Placeholder 8"/>
          <p:cNvSpPr>
            <a:spLocks noGrp="1"/>
          </p:cNvSpPr>
          <p:nvPr>
            <p:ph sz="quarter" idx="12"/>
          </p:nvPr>
        </p:nvSpPr>
        <p:spPr>
          <a:xfrm>
            <a:off x="6228903" y="1692077"/>
            <a:ext cx="5040312" cy="3888234"/>
          </a:xfrm>
        </p:spPr>
        <p:txBody>
          <a:bodyPr/>
          <a:lstStyle>
            <a:lvl2pPr>
              <a:defRPr b="0"/>
            </a:lvl2pPr>
          </a:lstStyle>
          <a:p>
            <a:pPr lvl="0"/>
            <a:r>
              <a:rPr lang="en-US" dirty="0"/>
              <a:t>Click to edit Master text styles</a:t>
            </a:r>
          </a:p>
          <a:p>
            <a:pPr lvl="1"/>
            <a:r>
              <a:rPr lang="en-US" dirty="0"/>
              <a:t>Second level</a:t>
            </a:r>
          </a:p>
          <a:p>
            <a:pPr lvl="2"/>
            <a:r>
              <a:rPr lang="en-US" dirty="0"/>
              <a:t>Third level</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4155" y="5904252"/>
            <a:ext cx="885348" cy="540353"/>
          </a:xfrm>
          <a:prstGeom prst="rect">
            <a:avLst/>
          </a:prstGeom>
        </p:spPr>
      </p:pic>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7 – All rights reserved</a:t>
            </a:r>
            <a:endParaRPr lang="fr-FR" dirty="0"/>
          </a:p>
        </p:txBody>
      </p:sp>
    </p:spTree>
    <p:extLst>
      <p:ext uri="{BB962C8B-B14F-4D97-AF65-F5344CB8AC3E}">
        <p14:creationId xmlns:p14="http://schemas.microsoft.com/office/powerpoint/2010/main" val="1911706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ull color for 5th element and white bacground">
    <p:spTree>
      <p:nvGrpSpPr>
        <p:cNvPr id="1" name=""/>
        <p:cNvGrpSpPr/>
        <p:nvPr/>
      </p:nvGrpSpPr>
      <p:grpSpPr>
        <a:xfrm>
          <a:off x="0" y="0"/>
          <a:ext cx="0" cy="0"/>
          <a:chOff x="0" y="0"/>
          <a:chExt cx="0" cy="0"/>
        </a:xfrm>
      </p:grpSpPr>
      <p:sp>
        <p:nvSpPr>
          <p:cNvPr id="5" name="Freeform 4"/>
          <p:cNvSpPr/>
          <p:nvPr userDrawn="1"/>
        </p:nvSpPr>
        <p:spPr>
          <a:xfrm>
            <a:off x="-28576" y="1146412"/>
            <a:ext cx="7806519" cy="3712191"/>
          </a:xfrm>
          <a:custGeom>
            <a:avLst/>
            <a:gdLst>
              <a:gd name="connsiteX0" fmla="*/ 0 w 7806519"/>
              <a:gd name="connsiteY0" fmla="*/ 0 h 3712191"/>
              <a:gd name="connsiteX1" fmla="*/ 7806519 w 7806519"/>
              <a:gd name="connsiteY1" fmla="*/ 0 h 3712191"/>
              <a:gd name="connsiteX2" fmla="*/ 6564573 w 7806519"/>
              <a:gd name="connsiteY2" fmla="*/ 3712191 h 3712191"/>
              <a:gd name="connsiteX3" fmla="*/ 13648 w 7806519"/>
              <a:gd name="connsiteY3" fmla="*/ 3712191 h 3712191"/>
              <a:gd name="connsiteX4" fmla="*/ 0 w 7806519"/>
              <a:gd name="connsiteY4" fmla="*/ 0 h 3712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6519" h="3712191">
                <a:moveTo>
                  <a:pt x="0" y="0"/>
                </a:moveTo>
                <a:lnTo>
                  <a:pt x="7806519" y="0"/>
                </a:lnTo>
                <a:lnTo>
                  <a:pt x="6564573" y="3712191"/>
                </a:lnTo>
                <a:lnTo>
                  <a:pt x="13648" y="3712191"/>
                </a:lnTo>
                <a:cubicBezTo>
                  <a:pt x="9099" y="2474794"/>
                  <a:pt x="4549" y="1237397"/>
                  <a:pt x="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972000" y="2772365"/>
            <a:ext cx="5616000" cy="1512000"/>
          </a:xfrm>
          <a:prstGeom prst="rect">
            <a:avLst/>
          </a:prstGeom>
        </p:spPr>
        <p:txBody>
          <a:bodyPr>
            <a:noAutofit/>
          </a:bodyPr>
          <a:lstStyle/>
          <a:p>
            <a:r>
              <a:rPr lang="en-US"/>
              <a:t>Click to edit Master title style</a:t>
            </a:r>
            <a:endParaRPr lang="en-GB"/>
          </a:p>
        </p:txBody>
      </p:sp>
      <p:sp>
        <p:nvSpPr>
          <p:cNvPr id="3" name="Subtitle 2"/>
          <p:cNvSpPr>
            <a:spLocks noGrp="1"/>
          </p:cNvSpPr>
          <p:nvPr>
            <p:ph type="subTitle" idx="1" hasCustomPrompt="1"/>
          </p:nvPr>
        </p:nvSpPr>
        <p:spPr>
          <a:xfrm>
            <a:off x="972000" y="4305600"/>
            <a:ext cx="5616000" cy="410400"/>
          </a:xfrm>
          <a:prstGeom prst="rect">
            <a:avLst/>
          </a:prstGeom>
        </p:spPr>
        <p:txBody>
          <a:bodyPr>
            <a:noAutofit/>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1430" y="1764084"/>
            <a:ext cx="1469814" cy="900000"/>
          </a:xfrm>
          <a:prstGeom prst="rect">
            <a:avLst/>
          </a:prstGeom>
        </p:spPr>
      </p:pic>
      <p:sp>
        <p:nvSpPr>
          <p:cNvPr id="6" name="Footer Placeholder 1"/>
          <p:cNvSpPr>
            <a:spLocks noGrp="1"/>
          </p:cNvSpPr>
          <p:nvPr>
            <p:ph type="ftr" sz="quarter" idx="3"/>
          </p:nvPr>
        </p:nvSpPr>
        <p:spPr>
          <a:xfrm>
            <a:off x="1116335" y="6340475"/>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7 – All rights reserved</a:t>
            </a:r>
            <a:endParaRPr lang="fr-FR"/>
          </a:p>
        </p:txBody>
      </p:sp>
    </p:spTree>
    <p:extLst>
      <p:ext uri="{BB962C8B-B14F-4D97-AF65-F5344CB8AC3E}">
        <p14:creationId xmlns:p14="http://schemas.microsoft.com/office/powerpoint/2010/main" val="30658454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ransparent colour for picture background">
    <p:spTree>
      <p:nvGrpSpPr>
        <p:cNvPr id="1" name=""/>
        <p:cNvGrpSpPr/>
        <p:nvPr/>
      </p:nvGrpSpPr>
      <p:grpSpPr>
        <a:xfrm>
          <a:off x="0" y="0"/>
          <a:ext cx="0" cy="0"/>
          <a:chOff x="0" y="0"/>
          <a:chExt cx="0" cy="0"/>
        </a:xfrm>
      </p:grpSpPr>
      <p:sp>
        <p:nvSpPr>
          <p:cNvPr id="5" name="Freeform 4"/>
          <p:cNvSpPr/>
          <p:nvPr userDrawn="1"/>
        </p:nvSpPr>
        <p:spPr>
          <a:xfrm>
            <a:off x="-28576" y="1146412"/>
            <a:ext cx="7806519" cy="3712191"/>
          </a:xfrm>
          <a:custGeom>
            <a:avLst/>
            <a:gdLst>
              <a:gd name="connsiteX0" fmla="*/ 0 w 7806519"/>
              <a:gd name="connsiteY0" fmla="*/ 0 h 3712191"/>
              <a:gd name="connsiteX1" fmla="*/ 7806519 w 7806519"/>
              <a:gd name="connsiteY1" fmla="*/ 0 h 3712191"/>
              <a:gd name="connsiteX2" fmla="*/ 6564573 w 7806519"/>
              <a:gd name="connsiteY2" fmla="*/ 3712191 h 3712191"/>
              <a:gd name="connsiteX3" fmla="*/ 13648 w 7806519"/>
              <a:gd name="connsiteY3" fmla="*/ 3712191 h 3712191"/>
              <a:gd name="connsiteX4" fmla="*/ 0 w 7806519"/>
              <a:gd name="connsiteY4" fmla="*/ 0 h 3712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6519" h="3712191">
                <a:moveTo>
                  <a:pt x="0" y="0"/>
                </a:moveTo>
                <a:lnTo>
                  <a:pt x="7806519" y="0"/>
                </a:lnTo>
                <a:lnTo>
                  <a:pt x="6564573" y="3712191"/>
                </a:lnTo>
                <a:lnTo>
                  <a:pt x="13648" y="3712191"/>
                </a:lnTo>
                <a:cubicBezTo>
                  <a:pt x="9099" y="2474794"/>
                  <a:pt x="4549" y="1237397"/>
                  <a:pt x="0" y="0"/>
                </a:cubicBezTo>
                <a:close/>
              </a:path>
            </a:pathLst>
          </a:cu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972000" y="2772000"/>
            <a:ext cx="5616000" cy="1512000"/>
          </a:xfrm>
          <a:prstGeom prst="rect">
            <a:avLst/>
          </a:prstGeom>
        </p:spPr>
        <p:txBody>
          <a:bodyPr>
            <a:noAutofit/>
          </a:bodyPr>
          <a:lstStyle/>
          <a:p>
            <a:r>
              <a:rPr lang="en-US"/>
              <a:t>Click to edit Master title style</a:t>
            </a:r>
            <a:endParaRPr lang="en-GB"/>
          </a:p>
        </p:txBody>
      </p:sp>
      <p:sp>
        <p:nvSpPr>
          <p:cNvPr id="3" name="Subtitle 2"/>
          <p:cNvSpPr>
            <a:spLocks noGrp="1"/>
          </p:cNvSpPr>
          <p:nvPr>
            <p:ph type="subTitle" idx="1" hasCustomPrompt="1"/>
          </p:nvPr>
        </p:nvSpPr>
        <p:spPr>
          <a:xfrm>
            <a:off x="972000" y="4305600"/>
            <a:ext cx="5616000" cy="410400"/>
          </a:xfrm>
          <a:prstGeom prst="rect">
            <a:avLst/>
          </a:prstGeom>
        </p:spPr>
        <p:txBody>
          <a:bodyPr>
            <a:noAutofit/>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1430" y="1764084"/>
            <a:ext cx="1469814" cy="900000"/>
          </a:xfrm>
          <a:prstGeom prst="rect">
            <a:avLst/>
          </a:prstGeom>
        </p:spPr>
      </p:pic>
      <p:sp>
        <p:nvSpPr>
          <p:cNvPr id="6" name="Footer Placeholder 1"/>
          <p:cNvSpPr>
            <a:spLocks noGrp="1"/>
          </p:cNvSpPr>
          <p:nvPr>
            <p:ph type="ftr" sz="quarter" idx="3"/>
          </p:nvPr>
        </p:nvSpPr>
        <p:spPr>
          <a:xfrm>
            <a:off x="1116335" y="6340475"/>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7 – All rights reserved</a:t>
            </a:r>
            <a:endParaRPr lang="fr-FR"/>
          </a:p>
        </p:txBody>
      </p:sp>
    </p:spTree>
    <p:extLst>
      <p:ext uri="{BB962C8B-B14F-4D97-AF65-F5344CB8AC3E}">
        <p14:creationId xmlns:p14="http://schemas.microsoft.com/office/powerpoint/2010/main" val="34384187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r>
              <a:rPr lang="en-US"/>
              <a:t>© HL Display 2017 – All rights reserved</a:t>
            </a:r>
            <a:endParaRPr lang="en-GB"/>
          </a:p>
        </p:txBody>
      </p:sp>
      <p:sp>
        <p:nvSpPr>
          <p:cNvPr id="5" name="Slide Number Placeholder 4"/>
          <p:cNvSpPr>
            <a:spLocks noGrp="1"/>
          </p:cNvSpPr>
          <p:nvPr>
            <p:ph type="sldNum" sz="quarter" idx="12"/>
          </p:nvPr>
        </p:nvSpPr>
        <p:spPr/>
        <p:txBody>
          <a:bodyPr/>
          <a:lstStyle/>
          <a:p>
            <a:fld id="{1DF9C3AE-ADEC-43A4-ABFF-B9D3057E0680}" type="slidenum">
              <a:rPr lang="en-GB" smtClean="0"/>
              <a:t>‹#›</a:t>
            </a:fld>
            <a:endParaRPr lang="en-GB"/>
          </a:p>
        </p:txBody>
      </p:sp>
    </p:spTree>
    <p:extLst>
      <p:ext uri="{BB962C8B-B14F-4D97-AF65-F5344CB8AC3E}">
        <p14:creationId xmlns:p14="http://schemas.microsoft.com/office/powerpoint/2010/main" val="17890154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Close ups pictures">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2"/>
                </a:solidFill>
              </a:defRPr>
            </a:lvl1pPr>
          </a:lstStyle>
          <a:p>
            <a:r>
              <a:rPr lang="en-US"/>
              <a:t>Click to edit Master title style</a:t>
            </a:r>
            <a:endParaRPr lang="fr-FR"/>
          </a:p>
        </p:txBody>
      </p:sp>
      <p:sp>
        <p:nvSpPr>
          <p:cNvPr id="4" name="Picture Placeholder 4"/>
          <p:cNvSpPr>
            <a:spLocks noGrp="1"/>
          </p:cNvSpPr>
          <p:nvPr>
            <p:ph type="pic" sz="quarter" idx="12"/>
          </p:nvPr>
        </p:nvSpPr>
        <p:spPr>
          <a:xfrm>
            <a:off x="5051684" y="1680210"/>
            <a:ext cx="3444632" cy="3180218"/>
          </a:xfrm>
        </p:spPr>
        <p:txBody>
          <a:bodyPr/>
          <a:lstStyle/>
          <a:p>
            <a:endParaRPr lang="fr-FR"/>
          </a:p>
        </p:txBody>
      </p:sp>
      <p:sp>
        <p:nvSpPr>
          <p:cNvPr id="5" name="Picture Placeholder 4"/>
          <p:cNvSpPr>
            <a:spLocks noGrp="1"/>
          </p:cNvSpPr>
          <p:nvPr>
            <p:ph type="pic" sz="quarter" idx="13"/>
          </p:nvPr>
        </p:nvSpPr>
        <p:spPr>
          <a:xfrm>
            <a:off x="8725143" y="1680210"/>
            <a:ext cx="3444632" cy="3180218"/>
          </a:xfrm>
        </p:spPr>
        <p:txBody>
          <a:bodyPr/>
          <a:lstStyle/>
          <a:p>
            <a:endParaRPr lang="fr-FR"/>
          </a:p>
        </p:txBody>
      </p:sp>
      <p:sp>
        <p:nvSpPr>
          <p:cNvPr id="6" name="Text Placeholder 15"/>
          <p:cNvSpPr>
            <a:spLocks noGrp="1"/>
          </p:cNvSpPr>
          <p:nvPr>
            <p:ph type="body" sz="quarter" idx="17"/>
          </p:nvPr>
        </p:nvSpPr>
        <p:spPr>
          <a:xfrm>
            <a:off x="1188343" y="5076230"/>
            <a:ext cx="3634482" cy="360263"/>
          </a:xfrm>
        </p:spPr>
        <p:txBody>
          <a:bodyPr>
            <a:noAutofit/>
          </a:bodyPr>
          <a:lstStyle>
            <a:lvl1pPr>
              <a:defRPr sz="1600"/>
            </a:lvl1pPr>
          </a:lstStyle>
          <a:p>
            <a:pPr lvl="0"/>
            <a:r>
              <a:rPr lang="en-US"/>
              <a:t>Edit Master text styles</a:t>
            </a:r>
          </a:p>
        </p:txBody>
      </p:sp>
      <p:sp>
        <p:nvSpPr>
          <p:cNvPr id="7" name="Text Placeholder 15"/>
          <p:cNvSpPr>
            <a:spLocks noGrp="1"/>
          </p:cNvSpPr>
          <p:nvPr>
            <p:ph type="body" sz="quarter" idx="18"/>
          </p:nvPr>
        </p:nvSpPr>
        <p:spPr>
          <a:xfrm>
            <a:off x="5042822" y="5076230"/>
            <a:ext cx="3444907" cy="360263"/>
          </a:xfrm>
        </p:spPr>
        <p:txBody>
          <a:bodyPr>
            <a:noAutofit/>
          </a:bodyPr>
          <a:lstStyle>
            <a:lvl1pPr>
              <a:defRPr sz="1600"/>
            </a:lvl1pPr>
          </a:lstStyle>
          <a:p>
            <a:pPr lvl="0"/>
            <a:r>
              <a:rPr lang="en-US"/>
              <a:t>Edit Master text styles</a:t>
            </a:r>
          </a:p>
        </p:txBody>
      </p:sp>
      <p:sp>
        <p:nvSpPr>
          <p:cNvPr id="8" name="Text Placeholder 15"/>
          <p:cNvSpPr>
            <a:spLocks noGrp="1"/>
          </p:cNvSpPr>
          <p:nvPr>
            <p:ph type="body" sz="quarter" idx="19"/>
          </p:nvPr>
        </p:nvSpPr>
        <p:spPr>
          <a:xfrm>
            <a:off x="8707694" y="5076230"/>
            <a:ext cx="3444907" cy="360263"/>
          </a:xfrm>
        </p:spPr>
        <p:txBody>
          <a:bodyPr>
            <a:noAutofit/>
          </a:bodyPr>
          <a:lstStyle>
            <a:lvl1pPr>
              <a:defRPr sz="1600"/>
            </a:lvl1pPr>
          </a:lstStyle>
          <a:p>
            <a:pPr lvl="0"/>
            <a:r>
              <a:rPr lang="en-US"/>
              <a:t>Edit Master text styles</a:t>
            </a:r>
          </a:p>
        </p:txBody>
      </p:sp>
      <p:sp>
        <p:nvSpPr>
          <p:cNvPr id="9" name="Picture Placeholder 28"/>
          <p:cNvSpPr>
            <a:spLocks noGrp="1"/>
          </p:cNvSpPr>
          <p:nvPr>
            <p:ph type="pic" sz="quarter" idx="20"/>
          </p:nvPr>
        </p:nvSpPr>
        <p:spPr>
          <a:xfrm>
            <a:off x="1239053" y="1680210"/>
            <a:ext cx="3583772" cy="3161274"/>
          </a:xfrm>
          <a:custGeom>
            <a:avLst/>
            <a:gdLst>
              <a:gd name="connsiteX0" fmla="*/ 0 w 3444875"/>
              <a:gd name="connsiteY0" fmla="*/ 3149699 h 3149699"/>
              <a:gd name="connsiteX1" fmla="*/ 787425 w 3444875"/>
              <a:gd name="connsiteY1" fmla="*/ 0 h 3149699"/>
              <a:gd name="connsiteX2" fmla="*/ 3444875 w 3444875"/>
              <a:gd name="connsiteY2" fmla="*/ 0 h 3149699"/>
              <a:gd name="connsiteX3" fmla="*/ 2657450 w 3444875"/>
              <a:gd name="connsiteY3" fmla="*/ 3149699 h 3149699"/>
              <a:gd name="connsiteX4" fmla="*/ 0 w 3444875"/>
              <a:gd name="connsiteY4" fmla="*/ 3149699 h 3149699"/>
              <a:gd name="connsiteX0" fmla="*/ 0 w 3444875"/>
              <a:gd name="connsiteY0" fmla="*/ 3149699 h 3161274"/>
              <a:gd name="connsiteX1" fmla="*/ 787425 w 3444875"/>
              <a:gd name="connsiteY1" fmla="*/ 0 h 3161274"/>
              <a:gd name="connsiteX2" fmla="*/ 3444875 w 3444875"/>
              <a:gd name="connsiteY2" fmla="*/ 0 h 3161274"/>
              <a:gd name="connsiteX3" fmla="*/ 3375081 w 3444875"/>
              <a:gd name="connsiteY3" fmla="*/ 3161274 h 3161274"/>
              <a:gd name="connsiteX4" fmla="*/ 0 w 3444875"/>
              <a:gd name="connsiteY4" fmla="*/ 3149699 h 3161274"/>
              <a:gd name="connsiteX0" fmla="*/ 0 w 3444875"/>
              <a:gd name="connsiteY0" fmla="*/ 3149699 h 3161274"/>
              <a:gd name="connsiteX1" fmla="*/ 787425 w 3444875"/>
              <a:gd name="connsiteY1" fmla="*/ 0 h 3161274"/>
              <a:gd name="connsiteX2" fmla="*/ 3444875 w 3444875"/>
              <a:gd name="connsiteY2" fmla="*/ 0 h 3161274"/>
              <a:gd name="connsiteX3" fmla="*/ 3432955 w 3444875"/>
              <a:gd name="connsiteY3" fmla="*/ 3161274 h 3161274"/>
              <a:gd name="connsiteX4" fmla="*/ 0 w 3444875"/>
              <a:gd name="connsiteY4" fmla="*/ 3149699 h 3161274"/>
              <a:gd name="connsiteX0" fmla="*/ 0 w 3583772"/>
              <a:gd name="connsiteY0" fmla="*/ 3161274 h 3161274"/>
              <a:gd name="connsiteX1" fmla="*/ 926322 w 3583772"/>
              <a:gd name="connsiteY1" fmla="*/ 0 h 3161274"/>
              <a:gd name="connsiteX2" fmla="*/ 3583772 w 3583772"/>
              <a:gd name="connsiteY2" fmla="*/ 0 h 3161274"/>
              <a:gd name="connsiteX3" fmla="*/ 3571852 w 3583772"/>
              <a:gd name="connsiteY3" fmla="*/ 3161274 h 3161274"/>
              <a:gd name="connsiteX4" fmla="*/ 0 w 3583772"/>
              <a:gd name="connsiteY4" fmla="*/ 3161274 h 3161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3772" h="3161274">
                <a:moveTo>
                  <a:pt x="0" y="3161274"/>
                </a:moveTo>
                <a:lnTo>
                  <a:pt x="926322" y="0"/>
                </a:lnTo>
                <a:lnTo>
                  <a:pt x="3583772" y="0"/>
                </a:lnTo>
                <a:cubicBezTo>
                  <a:pt x="3579799" y="1053758"/>
                  <a:pt x="3575825" y="2107516"/>
                  <a:pt x="3571852" y="3161274"/>
                </a:cubicBezTo>
                <a:lnTo>
                  <a:pt x="0" y="3161274"/>
                </a:lnTo>
                <a:close/>
              </a:path>
            </a:pathLst>
          </a:custGeom>
          <a:noFill/>
        </p:spPr>
        <p:txBody>
          <a:bodyPr/>
          <a:lstStyle/>
          <a:p>
            <a:endParaRPr lang="fr-F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11" name="Holder 2"/>
          <p:cNvSpPr>
            <a:spLocks noGrp="1"/>
          </p:cNvSpPr>
          <p:nvPr>
            <p:ph type="ftr" sz="quarter" idx="5"/>
          </p:nvPr>
        </p:nvSpPr>
        <p:spPr>
          <a:xfrm>
            <a:off x="1116335" y="6340475"/>
            <a:ext cx="4108450" cy="363538"/>
          </a:xfrm>
        </p:spPr>
        <p:txBody>
          <a:bodyPr lIns="0" tIns="0" rIns="0" bIns="0"/>
          <a:lstStyle>
            <a:lvl1pPr algn="ctr">
              <a:defRPr>
                <a:solidFill>
                  <a:schemeClr val="tx1">
                    <a:tint val="75000"/>
                  </a:schemeClr>
                </a:solidFill>
              </a:defRPr>
            </a:lvl1pPr>
          </a:lstStyle>
          <a:p>
            <a:r>
              <a:rPr lang="en-US"/>
              <a:t>© HL Display 2017 – All rights reserved</a:t>
            </a:r>
            <a:endParaRPr/>
          </a:p>
        </p:txBody>
      </p:sp>
      <p:sp>
        <p:nvSpPr>
          <p:cNvPr id="12" name="Picture Placeholder 4"/>
          <p:cNvSpPr>
            <a:spLocks noGrp="1"/>
          </p:cNvSpPr>
          <p:nvPr>
            <p:ph type="pic" sz="quarter" idx="21"/>
          </p:nvPr>
        </p:nvSpPr>
        <p:spPr>
          <a:xfrm>
            <a:off x="5004767" y="1692077"/>
            <a:ext cx="3444632" cy="3180218"/>
          </a:xfrm>
          <a:prstGeom prst="rect">
            <a:avLst/>
          </a:prstGeom>
        </p:spPr>
        <p:txBody>
          <a:bodyPr/>
          <a:lstStyle/>
          <a:p>
            <a:endParaRPr lang="fr-FR"/>
          </a:p>
        </p:txBody>
      </p:sp>
      <p:sp>
        <p:nvSpPr>
          <p:cNvPr id="13" name="Picture Placeholder 4"/>
          <p:cNvSpPr>
            <a:spLocks noGrp="1"/>
          </p:cNvSpPr>
          <p:nvPr>
            <p:ph type="pic" sz="quarter" idx="22"/>
          </p:nvPr>
        </p:nvSpPr>
        <p:spPr>
          <a:xfrm>
            <a:off x="8678226" y="1692077"/>
            <a:ext cx="3444632" cy="3180218"/>
          </a:xfrm>
          <a:prstGeom prst="rect">
            <a:avLst/>
          </a:prstGeom>
        </p:spPr>
        <p:txBody>
          <a:bodyPr/>
          <a:lstStyle/>
          <a:p>
            <a:endParaRPr lang="fr-FR"/>
          </a:p>
        </p:txBody>
      </p:sp>
    </p:spTree>
    <p:extLst>
      <p:ext uri="{BB962C8B-B14F-4D97-AF65-F5344CB8AC3E}">
        <p14:creationId xmlns:p14="http://schemas.microsoft.com/office/powerpoint/2010/main" val="334505906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hapter pa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0165" y="1908101"/>
            <a:ext cx="10589444" cy="995809"/>
          </a:xfrm>
        </p:spPr>
        <p:txBody>
          <a:bodyPr>
            <a:noAutofit/>
          </a:bodyPr>
          <a:lstStyle>
            <a:lvl1pPr algn="ctr">
              <a:defRPr sz="5400">
                <a:solidFill>
                  <a:schemeClr val="bg2"/>
                </a:solidFill>
              </a:defRPr>
            </a:lvl1pPr>
          </a:lstStyle>
          <a:p>
            <a:r>
              <a:rPr lang="en-US"/>
              <a:t>Click to edit Master title style</a:t>
            </a:r>
            <a:endParaRPr lang="en-GB"/>
          </a:p>
        </p:txBody>
      </p:sp>
      <p:sp>
        <p:nvSpPr>
          <p:cNvPr id="6" name="Slide Number Placeholder 5"/>
          <p:cNvSpPr>
            <a:spLocks noGrp="1"/>
          </p:cNvSpPr>
          <p:nvPr>
            <p:ph type="sldNum" sz="quarter" idx="12"/>
          </p:nvPr>
        </p:nvSpPr>
        <p:spPr/>
        <p:txBody>
          <a:bodyPr/>
          <a:lstStyle/>
          <a:p>
            <a:fld id="{C864BB8D-94B4-466C-94BF-D114C83BF951}" type="slidenum">
              <a:rPr lang="en-GB" smtClean="0"/>
              <a:t>‹#›</a:t>
            </a:fld>
            <a:endParaRPr lang="en-GB"/>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7" name="Holder 2"/>
          <p:cNvSpPr>
            <a:spLocks noGrp="1"/>
          </p:cNvSpPr>
          <p:nvPr>
            <p:ph type="ftr" sz="quarter" idx="5"/>
          </p:nvPr>
        </p:nvSpPr>
        <p:spPr>
          <a:xfrm>
            <a:off x="1116335" y="6340475"/>
            <a:ext cx="4108450" cy="363538"/>
          </a:xfrm>
        </p:spPr>
        <p:txBody>
          <a:bodyPr lIns="0" tIns="0" rIns="0" bIns="0"/>
          <a:lstStyle>
            <a:lvl1pPr algn="ctr">
              <a:defRPr>
                <a:solidFill>
                  <a:schemeClr val="tx1">
                    <a:tint val="75000"/>
                  </a:schemeClr>
                </a:solidFill>
              </a:defRPr>
            </a:lvl1pPr>
          </a:lstStyle>
          <a:p>
            <a:r>
              <a:rPr lang="en-US"/>
              <a:t>© HL Display 2017 – All rights reserved</a:t>
            </a:r>
            <a:endParaRPr/>
          </a:p>
        </p:txBody>
      </p:sp>
    </p:spTree>
    <p:extLst>
      <p:ext uri="{BB962C8B-B14F-4D97-AF65-F5344CB8AC3E}">
        <p14:creationId xmlns:p14="http://schemas.microsoft.com/office/powerpoint/2010/main" val="41921073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ntroduction presentation">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5"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p>
            <a:endParaRPr lang="en-GB"/>
          </a:p>
        </p:txBody>
      </p:sp>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4155" y="5904252"/>
            <a:ext cx="885348" cy="540353"/>
          </a:xfrm>
          <a:prstGeom prst="rect">
            <a:avLst/>
          </a:prstGeom>
        </p:spPr>
      </p:pic>
      <p:sp>
        <p:nvSpPr>
          <p:cNvPr id="7" name="Text Placeholder 6"/>
          <p:cNvSpPr>
            <a:spLocks noGrp="1"/>
          </p:cNvSpPr>
          <p:nvPr>
            <p:ph type="body" sz="quarter" idx="12"/>
          </p:nvPr>
        </p:nvSpPr>
        <p:spPr>
          <a:xfrm>
            <a:off x="5148783" y="2339355"/>
            <a:ext cx="5822950" cy="2305050"/>
          </a:xfrm>
        </p:spPr>
        <p:txBody>
          <a:bodyPr/>
          <a:lstStyle>
            <a:lvl1pPr>
              <a:defRPr sz="4000">
                <a:solidFill>
                  <a:schemeClr val="tx2"/>
                </a:solidFill>
              </a:defRPr>
            </a:lvl1pPr>
            <a:lvl2pPr>
              <a:defRPr b="0"/>
            </a:lvl2pPr>
          </a:lstStyle>
          <a:p>
            <a:pPr lvl="0"/>
            <a:r>
              <a:rPr lang="en-US"/>
              <a:t>Click to edit Master text styles</a:t>
            </a:r>
          </a:p>
          <a:p>
            <a:pPr lvl="1"/>
            <a:r>
              <a:rPr lang="en-US"/>
              <a:t>Second level</a:t>
            </a:r>
          </a:p>
        </p:txBody>
      </p:sp>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8 – All rights reserved</a:t>
            </a:r>
            <a:endParaRPr lang="fr-FR"/>
          </a:p>
        </p:txBody>
      </p:sp>
    </p:spTree>
    <p:extLst>
      <p:ext uri="{BB962C8B-B14F-4D97-AF65-F5344CB8AC3E}">
        <p14:creationId xmlns:p14="http://schemas.microsoft.com/office/powerpoint/2010/main" val="42932796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tandard page">
    <p:spTree>
      <p:nvGrpSpPr>
        <p:cNvPr id="1" name=""/>
        <p:cNvGrpSpPr/>
        <p:nvPr/>
      </p:nvGrpSpPr>
      <p:grpSpPr>
        <a:xfrm>
          <a:off x="0" y="0"/>
          <a:ext cx="0" cy="0"/>
          <a:chOff x="0" y="0"/>
          <a:chExt cx="0" cy="0"/>
        </a:xfrm>
      </p:grpSpPr>
      <p:sp>
        <p:nvSpPr>
          <p:cNvPr id="2" name="Title 1"/>
          <p:cNvSpPr>
            <a:spLocks noGrp="1"/>
          </p:cNvSpPr>
          <p:nvPr>
            <p:ph type="title"/>
          </p:nvPr>
        </p:nvSpPr>
        <p:spPr>
          <a:xfrm>
            <a:off x="972319" y="408236"/>
            <a:ext cx="10297144" cy="1139825"/>
          </a:xfrm>
        </p:spPr>
        <p:txBody>
          <a:bodyPr/>
          <a:lstStyle/>
          <a:p>
            <a:r>
              <a:rPr lang="en-US"/>
              <a:t>Click to edit Master title style</a:t>
            </a:r>
            <a:endParaRPr lang="en-GB"/>
          </a:p>
        </p:txBody>
      </p:sp>
      <p:sp>
        <p:nvSpPr>
          <p:cNvPr id="3" name="Slide Number Placeholder 2"/>
          <p:cNvSpPr>
            <a:spLocks noGrp="1"/>
          </p:cNvSpPr>
          <p:nvPr>
            <p:ph type="sldNum" sz="quarter" idx="10"/>
          </p:nvPr>
        </p:nvSpPr>
        <p:spPr>
          <a:xfrm>
            <a:off x="468263" y="6369099"/>
            <a:ext cx="503287" cy="363538"/>
          </a:xfrm>
        </p:spPr>
        <p:txBody>
          <a:bodyPr/>
          <a:lstStyle/>
          <a:p>
            <a:fld id="{C864BB8D-94B4-466C-94BF-D114C83BF951}" type="slidenum">
              <a:rPr lang="en-GB" smtClean="0"/>
              <a:pPr/>
              <a:t>‹#›</a:t>
            </a:fld>
            <a:endParaRPr lang="en-GB"/>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4155" y="5904252"/>
            <a:ext cx="885348" cy="540353"/>
          </a:xfrm>
          <a:prstGeom prst="rect">
            <a:avLst/>
          </a:prstGeom>
        </p:spPr>
      </p:pic>
      <p:sp>
        <p:nvSpPr>
          <p:cNvPr id="7" name="Text Placeholder 6"/>
          <p:cNvSpPr>
            <a:spLocks noGrp="1"/>
          </p:cNvSpPr>
          <p:nvPr>
            <p:ph type="body" sz="quarter" idx="11"/>
          </p:nvPr>
        </p:nvSpPr>
        <p:spPr>
          <a:xfrm>
            <a:off x="971550" y="2001600"/>
            <a:ext cx="10297913" cy="3959671"/>
          </a:xfrm>
        </p:spPr>
        <p:txBody>
          <a:bodyPr/>
          <a:lstStyle>
            <a:lvl2pPr marL="174625" indent="-174625">
              <a:defRPr b="0"/>
            </a:lvl2pPr>
            <a:lvl3pPr marL="446088" indent="-182563">
              <a:defRPr/>
            </a:lvl3pPr>
          </a:lstStyle>
          <a:p>
            <a:pPr lvl="0"/>
            <a:r>
              <a:rPr lang="en-US"/>
              <a:t>Click to edit Master text styles</a:t>
            </a:r>
          </a:p>
          <a:p>
            <a:pPr lvl="1"/>
            <a:r>
              <a:rPr lang="en-US"/>
              <a:t>Second level</a:t>
            </a:r>
          </a:p>
          <a:p>
            <a:pPr lvl="2"/>
            <a:r>
              <a:rPr lang="en-US"/>
              <a:t>Third level</a:t>
            </a:r>
          </a:p>
        </p:txBody>
      </p:sp>
      <p:sp>
        <p:nvSpPr>
          <p:cNvPr id="9"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8 – All rights reserved</a:t>
            </a:r>
            <a:endParaRPr lang="fr-FR"/>
          </a:p>
        </p:txBody>
      </p:sp>
    </p:spTree>
    <p:extLst>
      <p:ext uri="{BB962C8B-B14F-4D97-AF65-F5344CB8AC3E}">
        <p14:creationId xmlns:p14="http://schemas.microsoft.com/office/powerpoint/2010/main" val="6164121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lose ups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4" name="Picture Placeholder 4"/>
          <p:cNvSpPr>
            <a:spLocks noGrp="1"/>
          </p:cNvSpPr>
          <p:nvPr>
            <p:ph type="pic" sz="quarter" idx="12"/>
          </p:nvPr>
        </p:nvSpPr>
        <p:spPr>
          <a:xfrm>
            <a:off x="5051684" y="1680210"/>
            <a:ext cx="3444632" cy="3180218"/>
          </a:xfrm>
        </p:spPr>
        <p:txBody>
          <a:bodyPr/>
          <a:lstStyle/>
          <a:p>
            <a:endParaRPr lang="fr-FR"/>
          </a:p>
        </p:txBody>
      </p:sp>
      <p:sp>
        <p:nvSpPr>
          <p:cNvPr id="5" name="Picture Placeholder 4"/>
          <p:cNvSpPr>
            <a:spLocks noGrp="1"/>
          </p:cNvSpPr>
          <p:nvPr>
            <p:ph type="pic" sz="quarter" idx="13"/>
          </p:nvPr>
        </p:nvSpPr>
        <p:spPr>
          <a:xfrm>
            <a:off x="8725143" y="1680210"/>
            <a:ext cx="3444632" cy="3180218"/>
          </a:xfrm>
        </p:spPr>
        <p:txBody>
          <a:bodyPr/>
          <a:lstStyle/>
          <a:p>
            <a:endParaRPr lang="fr-FR"/>
          </a:p>
        </p:txBody>
      </p:sp>
      <p:sp>
        <p:nvSpPr>
          <p:cNvPr id="6" name="Text Placeholder 15"/>
          <p:cNvSpPr>
            <a:spLocks noGrp="1"/>
          </p:cNvSpPr>
          <p:nvPr>
            <p:ph type="body" sz="quarter" idx="17"/>
          </p:nvPr>
        </p:nvSpPr>
        <p:spPr>
          <a:xfrm>
            <a:off x="1188343" y="5076230"/>
            <a:ext cx="3634482" cy="360263"/>
          </a:xfrm>
        </p:spPr>
        <p:txBody>
          <a:bodyPr>
            <a:noAutofit/>
          </a:bodyPr>
          <a:lstStyle>
            <a:lvl1pPr>
              <a:defRPr sz="1600"/>
            </a:lvl1pPr>
          </a:lstStyle>
          <a:p>
            <a:pPr lvl="0"/>
            <a:r>
              <a:rPr lang="en-US"/>
              <a:t>Edit Master text styles</a:t>
            </a:r>
          </a:p>
        </p:txBody>
      </p:sp>
      <p:sp>
        <p:nvSpPr>
          <p:cNvPr id="7" name="Text Placeholder 15"/>
          <p:cNvSpPr>
            <a:spLocks noGrp="1"/>
          </p:cNvSpPr>
          <p:nvPr>
            <p:ph type="body" sz="quarter" idx="18"/>
          </p:nvPr>
        </p:nvSpPr>
        <p:spPr>
          <a:xfrm>
            <a:off x="5042822" y="5076230"/>
            <a:ext cx="3444907" cy="360263"/>
          </a:xfrm>
        </p:spPr>
        <p:txBody>
          <a:bodyPr>
            <a:noAutofit/>
          </a:bodyPr>
          <a:lstStyle>
            <a:lvl1pPr>
              <a:defRPr sz="1600"/>
            </a:lvl1pPr>
          </a:lstStyle>
          <a:p>
            <a:pPr lvl="0"/>
            <a:r>
              <a:rPr lang="en-US"/>
              <a:t>Edit Master text styles</a:t>
            </a:r>
          </a:p>
        </p:txBody>
      </p:sp>
      <p:sp>
        <p:nvSpPr>
          <p:cNvPr id="8" name="Text Placeholder 15"/>
          <p:cNvSpPr>
            <a:spLocks noGrp="1"/>
          </p:cNvSpPr>
          <p:nvPr>
            <p:ph type="body" sz="quarter" idx="19"/>
          </p:nvPr>
        </p:nvSpPr>
        <p:spPr>
          <a:xfrm>
            <a:off x="8707694" y="5076230"/>
            <a:ext cx="3444907" cy="360263"/>
          </a:xfrm>
        </p:spPr>
        <p:txBody>
          <a:bodyPr>
            <a:noAutofit/>
          </a:bodyPr>
          <a:lstStyle>
            <a:lvl1pPr>
              <a:defRPr sz="1600"/>
            </a:lvl1pPr>
          </a:lstStyle>
          <a:p>
            <a:pPr lvl="0"/>
            <a:r>
              <a:rPr lang="en-US"/>
              <a:t>Edit Master text styles</a:t>
            </a:r>
          </a:p>
        </p:txBody>
      </p:sp>
      <p:sp>
        <p:nvSpPr>
          <p:cNvPr id="9" name="Picture Placeholder 28"/>
          <p:cNvSpPr>
            <a:spLocks noGrp="1"/>
          </p:cNvSpPr>
          <p:nvPr>
            <p:ph type="pic" sz="quarter" idx="20"/>
          </p:nvPr>
        </p:nvSpPr>
        <p:spPr>
          <a:xfrm>
            <a:off x="1239053" y="1680210"/>
            <a:ext cx="3583772" cy="3161274"/>
          </a:xfrm>
          <a:custGeom>
            <a:avLst/>
            <a:gdLst>
              <a:gd name="connsiteX0" fmla="*/ 0 w 3444875"/>
              <a:gd name="connsiteY0" fmla="*/ 3149699 h 3149699"/>
              <a:gd name="connsiteX1" fmla="*/ 787425 w 3444875"/>
              <a:gd name="connsiteY1" fmla="*/ 0 h 3149699"/>
              <a:gd name="connsiteX2" fmla="*/ 3444875 w 3444875"/>
              <a:gd name="connsiteY2" fmla="*/ 0 h 3149699"/>
              <a:gd name="connsiteX3" fmla="*/ 2657450 w 3444875"/>
              <a:gd name="connsiteY3" fmla="*/ 3149699 h 3149699"/>
              <a:gd name="connsiteX4" fmla="*/ 0 w 3444875"/>
              <a:gd name="connsiteY4" fmla="*/ 3149699 h 3149699"/>
              <a:gd name="connsiteX0" fmla="*/ 0 w 3444875"/>
              <a:gd name="connsiteY0" fmla="*/ 3149699 h 3161274"/>
              <a:gd name="connsiteX1" fmla="*/ 787425 w 3444875"/>
              <a:gd name="connsiteY1" fmla="*/ 0 h 3161274"/>
              <a:gd name="connsiteX2" fmla="*/ 3444875 w 3444875"/>
              <a:gd name="connsiteY2" fmla="*/ 0 h 3161274"/>
              <a:gd name="connsiteX3" fmla="*/ 3375081 w 3444875"/>
              <a:gd name="connsiteY3" fmla="*/ 3161274 h 3161274"/>
              <a:gd name="connsiteX4" fmla="*/ 0 w 3444875"/>
              <a:gd name="connsiteY4" fmla="*/ 3149699 h 3161274"/>
              <a:gd name="connsiteX0" fmla="*/ 0 w 3444875"/>
              <a:gd name="connsiteY0" fmla="*/ 3149699 h 3161274"/>
              <a:gd name="connsiteX1" fmla="*/ 787425 w 3444875"/>
              <a:gd name="connsiteY1" fmla="*/ 0 h 3161274"/>
              <a:gd name="connsiteX2" fmla="*/ 3444875 w 3444875"/>
              <a:gd name="connsiteY2" fmla="*/ 0 h 3161274"/>
              <a:gd name="connsiteX3" fmla="*/ 3432955 w 3444875"/>
              <a:gd name="connsiteY3" fmla="*/ 3161274 h 3161274"/>
              <a:gd name="connsiteX4" fmla="*/ 0 w 3444875"/>
              <a:gd name="connsiteY4" fmla="*/ 3149699 h 3161274"/>
              <a:gd name="connsiteX0" fmla="*/ 0 w 3583772"/>
              <a:gd name="connsiteY0" fmla="*/ 3161274 h 3161274"/>
              <a:gd name="connsiteX1" fmla="*/ 926322 w 3583772"/>
              <a:gd name="connsiteY1" fmla="*/ 0 h 3161274"/>
              <a:gd name="connsiteX2" fmla="*/ 3583772 w 3583772"/>
              <a:gd name="connsiteY2" fmla="*/ 0 h 3161274"/>
              <a:gd name="connsiteX3" fmla="*/ 3571852 w 3583772"/>
              <a:gd name="connsiteY3" fmla="*/ 3161274 h 3161274"/>
              <a:gd name="connsiteX4" fmla="*/ 0 w 3583772"/>
              <a:gd name="connsiteY4" fmla="*/ 3161274 h 3161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3772" h="3161274">
                <a:moveTo>
                  <a:pt x="0" y="3161274"/>
                </a:moveTo>
                <a:lnTo>
                  <a:pt x="926322" y="0"/>
                </a:lnTo>
                <a:lnTo>
                  <a:pt x="3583772" y="0"/>
                </a:lnTo>
                <a:cubicBezTo>
                  <a:pt x="3579799" y="1053758"/>
                  <a:pt x="3575825" y="2107516"/>
                  <a:pt x="3571852" y="3161274"/>
                </a:cubicBezTo>
                <a:lnTo>
                  <a:pt x="0" y="3161274"/>
                </a:lnTo>
                <a:close/>
              </a:path>
            </a:pathLst>
          </a:custGeom>
          <a:noFill/>
        </p:spPr>
        <p:txBody>
          <a:bodyPr/>
          <a:lstStyle/>
          <a:p>
            <a:endParaRPr lang="fr-FR"/>
          </a:p>
        </p:txBody>
      </p:sp>
      <p:sp>
        <p:nvSpPr>
          <p:cNvPr id="11"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8 – All rights reserved</a:t>
            </a:r>
            <a:endParaRPr lang="fr-FR"/>
          </a:p>
        </p:txBody>
      </p:sp>
    </p:spTree>
    <p:extLst>
      <p:ext uri="{BB962C8B-B14F-4D97-AF65-F5344CB8AC3E}">
        <p14:creationId xmlns:p14="http://schemas.microsoft.com/office/powerpoint/2010/main" val="39479469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columns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7" name="Content Placeholder 6"/>
          <p:cNvSpPr>
            <a:spLocks noGrp="1"/>
          </p:cNvSpPr>
          <p:nvPr>
            <p:ph sz="quarter" idx="11"/>
          </p:nvPr>
        </p:nvSpPr>
        <p:spPr>
          <a:xfrm>
            <a:off x="972319" y="1692077"/>
            <a:ext cx="4680520" cy="3888432"/>
          </a:xfrm>
        </p:spPr>
        <p:txBody>
          <a:bodyPr/>
          <a:lstStyle>
            <a:lvl2pPr>
              <a:defRPr b="0"/>
            </a:lvl2pPr>
          </a:lstStyle>
          <a:p>
            <a:pPr lvl="0"/>
            <a:r>
              <a:rPr lang="en-US"/>
              <a:t>Click to edit Master text styles</a:t>
            </a:r>
          </a:p>
          <a:p>
            <a:pPr lvl="1"/>
            <a:r>
              <a:rPr lang="en-US"/>
              <a:t>Second level</a:t>
            </a:r>
          </a:p>
          <a:p>
            <a:pPr lvl="2"/>
            <a:r>
              <a:rPr lang="en-US"/>
              <a:t>Third level</a:t>
            </a:r>
          </a:p>
        </p:txBody>
      </p:sp>
      <p:sp>
        <p:nvSpPr>
          <p:cNvPr id="9" name="Content Placeholder 8"/>
          <p:cNvSpPr>
            <a:spLocks noGrp="1"/>
          </p:cNvSpPr>
          <p:nvPr>
            <p:ph sz="quarter" idx="12"/>
          </p:nvPr>
        </p:nvSpPr>
        <p:spPr>
          <a:xfrm>
            <a:off x="6228903" y="1692077"/>
            <a:ext cx="5040312" cy="3888234"/>
          </a:xfrm>
        </p:spPr>
        <p:txBody>
          <a:bodyPr/>
          <a:lstStyle>
            <a:lvl2pPr>
              <a:defRPr b="0"/>
            </a:lvl2pPr>
          </a:lstStyle>
          <a:p>
            <a:pPr lvl="0"/>
            <a:r>
              <a:rPr lang="en-US"/>
              <a:t>Click to edit Master text styles</a:t>
            </a:r>
          </a:p>
          <a:p>
            <a:pPr lvl="1"/>
            <a:r>
              <a:rPr lang="en-US"/>
              <a:t>Second level</a:t>
            </a:r>
          </a:p>
          <a:p>
            <a:pPr lvl="2"/>
            <a:r>
              <a:rPr lang="en-US"/>
              <a:t>Third level</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4155" y="5904252"/>
            <a:ext cx="885348" cy="540353"/>
          </a:xfrm>
          <a:prstGeom prst="rect">
            <a:avLst/>
          </a:prstGeom>
        </p:spPr>
      </p:pic>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8 – All rights reserved</a:t>
            </a:r>
            <a:endParaRPr lang="fr-FR"/>
          </a:p>
        </p:txBody>
      </p:sp>
    </p:spTree>
    <p:extLst>
      <p:ext uri="{BB962C8B-B14F-4D97-AF65-F5344CB8AC3E}">
        <p14:creationId xmlns:p14="http://schemas.microsoft.com/office/powerpoint/2010/main" val="26852821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hapter pa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0165" y="1908101"/>
            <a:ext cx="10589444" cy="995809"/>
          </a:xfrm>
        </p:spPr>
        <p:txBody>
          <a:bodyPr>
            <a:noAutofit/>
          </a:bodyPr>
          <a:lstStyle>
            <a:lvl1pPr algn="ctr">
              <a:defRPr sz="5400">
                <a:solidFill>
                  <a:schemeClr val="bg2"/>
                </a:solidFill>
              </a:defRPr>
            </a:lvl1pPr>
          </a:lstStyle>
          <a:p>
            <a:r>
              <a:rPr lang="en-US"/>
              <a:t>Click to edit Master title sty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7"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8 – All rights reserved</a:t>
            </a:r>
            <a:endParaRPr lang="fr-FR"/>
          </a:p>
        </p:txBody>
      </p:sp>
    </p:spTree>
    <p:extLst>
      <p:ext uri="{BB962C8B-B14F-4D97-AF65-F5344CB8AC3E}">
        <p14:creationId xmlns:p14="http://schemas.microsoft.com/office/powerpoint/2010/main" val="36037748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pa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0165" y="1908101"/>
            <a:ext cx="10589444" cy="995809"/>
          </a:xfrm>
        </p:spPr>
        <p:txBody>
          <a:bodyPr>
            <a:noAutofit/>
          </a:bodyPr>
          <a:lstStyle>
            <a:lvl1pPr algn="ctr">
              <a:defRPr sz="5400">
                <a:solidFill>
                  <a:schemeClr val="bg2"/>
                </a:solidFill>
              </a:defRPr>
            </a:lvl1pPr>
          </a:lstStyle>
          <a:p>
            <a:r>
              <a:rPr lang="en-US" dirty="0"/>
              <a:t>Click to edit Master title style</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7"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7 – All rights reserved</a:t>
            </a:r>
            <a:endParaRPr lang="fr-FR" dirty="0"/>
          </a:p>
        </p:txBody>
      </p:sp>
    </p:spTree>
    <p:extLst>
      <p:ext uri="{BB962C8B-B14F-4D97-AF65-F5344CB8AC3E}">
        <p14:creationId xmlns:p14="http://schemas.microsoft.com/office/powerpoint/2010/main" val="28066212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ramed picture + coloured slide">
    <p:bg>
      <p:bgPr>
        <a:solidFill>
          <a:schemeClr val="tx2"/>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lvl1pPr>
              <a:defRPr>
                <a:solidFill>
                  <a:schemeClr val="bg1"/>
                </a:solidFill>
              </a:defRPr>
            </a:lvl1pPr>
          </a:lstStyle>
          <a:p>
            <a:endParaRPr lang="en-GB"/>
          </a:p>
        </p:txBody>
      </p:sp>
      <p:sp>
        <p:nvSpPr>
          <p:cNvPr id="2" name="Title 1"/>
          <p:cNvSpPr>
            <a:spLocks noGrp="1"/>
          </p:cNvSpPr>
          <p:nvPr>
            <p:ph type="title"/>
          </p:nvPr>
        </p:nvSpPr>
        <p:spPr>
          <a:xfrm>
            <a:off x="5724847" y="1980109"/>
            <a:ext cx="5654762" cy="2940025"/>
          </a:xfrm>
        </p:spPr>
        <p:txBody>
          <a:bodyPr>
            <a:noAutofit/>
          </a:bodyPr>
          <a:lstStyle>
            <a:lvl1pPr algn="ctr">
              <a:defRPr sz="4000">
                <a:solidFill>
                  <a:schemeClr val="bg2"/>
                </a:solidFill>
              </a:defRPr>
            </a:lvl1pPr>
          </a:lstStyle>
          <a:p>
            <a:r>
              <a:rPr lang="en-US"/>
              <a:t>Click to edit Master title sty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8"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8 – All rights reserved</a:t>
            </a:r>
            <a:endParaRPr lang="fr-FR"/>
          </a:p>
        </p:txBody>
      </p:sp>
    </p:spTree>
    <p:extLst>
      <p:ext uri="{BB962C8B-B14F-4D97-AF65-F5344CB8AC3E}">
        <p14:creationId xmlns:p14="http://schemas.microsoft.com/office/powerpoint/2010/main" val="13564863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loured 5th element and background picture">
    <p:bg>
      <p:bgPr>
        <a:solidFill>
          <a:schemeClr val="tx2"/>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p>
            <a:endParaRPr lang="en-GB"/>
          </a:p>
        </p:txBody>
      </p:sp>
      <p:sp>
        <p:nvSpPr>
          <p:cNvPr id="2" name="Title 1"/>
          <p:cNvSpPr>
            <a:spLocks noGrp="1"/>
          </p:cNvSpPr>
          <p:nvPr>
            <p:ph type="title"/>
          </p:nvPr>
        </p:nvSpPr>
        <p:spPr>
          <a:xfrm>
            <a:off x="8206989" y="2484165"/>
            <a:ext cx="3566530" cy="2940025"/>
          </a:xfrm>
        </p:spPr>
        <p:txBody>
          <a:bodyPr>
            <a:noAutofit/>
          </a:bodyPr>
          <a:lstStyle>
            <a:lvl1pPr algn="r">
              <a:defRPr sz="4000">
                <a:solidFill>
                  <a:schemeClr val="bg2"/>
                </a:solidFill>
              </a:defRPr>
            </a:lvl1pPr>
          </a:lstStyle>
          <a:p>
            <a:r>
              <a:rPr lang="en-US"/>
              <a:t>Click to edit Master title sty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4" name="Text Placeholder 3"/>
          <p:cNvSpPr>
            <a:spLocks noGrp="1"/>
          </p:cNvSpPr>
          <p:nvPr>
            <p:ph type="body" sz="quarter" idx="13"/>
          </p:nvPr>
        </p:nvSpPr>
        <p:spPr>
          <a:xfrm>
            <a:off x="467742" y="467941"/>
            <a:ext cx="2880841" cy="4608512"/>
          </a:xfrm>
        </p:spPr>
        <p:txBody>
          <a:bodyPr/>
          <a:lstStyle>
            <a:lvl1pPr>
              <a:defRPr sz="4000">
                <a:solidFill>
                  <a:schemeClr val="bg2"/>
                </a:solidFill>
              </a:defRPr>
            </a:lvl1pPr>
          </a:lstStyle>
          <a:p>
            <a:pPr lvl="0"/>
            <a:r>
              <a:rPr lang="en-US"/>
              <a:t>Edit Master text styles</a:t>
            </a:r>
          </a:p>
        </p:txBody>
      </p:sp>
      <p:sp>
        <p:nvSpPr>
          <p:cNvPr id="8"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8 – All rights reserved</a:t>
            </a:r>
            <a:endParaRPr lang="fr-FR"/>
          </a:p>
        </p:txBody>
      </p:sp>
    </p:spTree>
    <p:extLst>
      <p:ext uri="{BB962C8B-B14F-4D97-AF65-F5344CB8AC3E}">
        <p14:creationId xmlns:p14="http://schemas.microsoft.com/office/powerpoint/2010/main" val="200404773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ank you  Layou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68363" y="1992412"/>
            <a:ext cx="9433048" cy="2291953"/>
          </a:xfrm>
        </p:spPr>
        <p:txBody>
          <a:bodyPr>
            <a:noAutofit/>
          </a:bodyPr>
          <a:lstStyle>
            <a:lvl1pPr algn="ctr">
              <a:defRPr sz="7200" b="0">
                <a:solidFill>
                  <a:schemeClr val="bg2"/>
                </a:solidFill>
              </a:defRPr>
            </a:lvl1pPr>
          </a:lstStyle>
          <a:p>
            <a:r>
              <a:rPr lang="en-US"/>
              <a:t>Thank you!</a:t>
            </a:r>
            <a:endParaRPr lang="en-GB"/>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grpSp>
        <p:nvGrpSpPr>
          <p:cNvPr id="6" name="Group 5">
            <a:extLst>
              <a:ext uri="{FF2B5EF4-FFF2-40B4-BE49-F238E27FC236}">
                <a16:creationId xmlns:a16="http://schemas.microsoft.com/office/drawing/2014/main" id="{571369E9-7576-4844-9AF1-4091A3CD6707}"/>
              </a:ext>
            </a:extLst>
          </p:cNvPr>
          <p:cNvGrpSpPr/>
          <p:nvPr userDrawn="1"/>
        </p:nvGrpSpPr>
        <p:grpSpPr>
          <a:xfrm>
            <a:off x="540271" y="5138376"/>
            <a:ext cx="6985350" cy="1152127"/>
            <a:chOff x="540271" y="5138376"/>
            <a:chExt cx="6985350" cy="1152127"/>
          </a:xfrm>
        </p:grpSpPr>
        <p:pic>
          <p:nvPicPr>
            <p:cNvPr id="11" name="Picture 10">
              <a:extLst>
                <a:ext uri="{FF2B5EF4-FFF2-40B4-BE49-F238E27FC236}">
                  <a16:creationId xmlns:a16="http://schemas.microsoft.com/office/drawing/2014/main" id="{5EDDA73C-C73A-4652-A24E-E83FF11427C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2160798" y="5138376"/>
              <a:ext cx="1799307" cy="1152127"/>
            </a:xfrm>
            <a:prstGeom prst="rect">
              <a:avLst/>
            </a:prstGeom>
          </p:spPr>
        </p:pic>
        <p:pic>
          <p:nvPicPr>
            <p:cNvPr id="16" name="Picture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636615" y="5336009"/>
              <a:ext cx="1830986" cy="878185"/>
            </a:xfrm>
            <a:prstGeom prst="rect">
              <a:avLst/>
            </a:prstGeom>
          </p:spPr>
        </p:pic>
        <p:pic>
          <p:nvPicPr>
            <p:cNvPr id="19" name="Picture 18"/>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5724847" y="5508501"/>
              <a:ext cx="1800774" cy="532756"/>
            </a:xfrm>
            <a:prstGeom prst="rect">
              <a:avLst/>
            </a:prstGeom>
          </p:spPr>
        </p:pic>
        <p:pic>
          <p:nvPicPr>
            <p:cNvPr id="13" name="Picture 12">
              <a:extLst>
                <a:ext uri="{FF2B5EF4-FFF2-40B4-BE49-F238E27FC236}">
                  <a16:creationId xmlns:a16="http://schemas.microsoft.com/office/drawing/2014/main" id="{90512660-082C-42CB-A19F-B134F2B00D7F}"/>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540271" y="5334196"/>
              <a:ext cx="1799307" cy="936104"/>
            </a:xfrm>
            <a:prstGeom prst="rect">
              <a:avLst/>
            </a:prstGeom>
          </p:spPr>
        </p:pic>
      </p:grpSp>
    </p:spTree>
    <p:extLst>
      <p:ext uri="{BB962C8B-B14F-4D97-AF65-F5344CB8AC3E}">
        <p14:creationId xmlns:p14="http://schemas.microsoft.com/office/powerpoint/2010/main" val="34183053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Chapter page">
    <p:bg>
      <p:bgPr>
        <a:solidFill>
          <a:schemeClr val="tx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4488D4-CD72-4342-818C-A7B16A1ED3CC}"/>
              </a:ext>
            </a:extLst>
          </p:cNvPr>
          <p:cNvGrpSpPr/>
          <p:nvPr userDrawn="1"/>
        </p:nvGrpSpPr>
        <p:grpSpPr>
          <a:xfrm>
            <a:off x="1150205" y="1940353"/>
            <a:ext cx="9869364" cy="2570196"/>
            <a:chOff x="1150205" y="1940353"/>
            <a:chExt cx="9869364" cy="2570196"/>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50106" y="1940353"/>
              <a:ext cx="2469563" cy="1512169"/>
            </a:xfrm>
            <a:prstGeom prst="rect">
              <a:avLst/>
            </a:prstGeom>
          </p:spPr>
        </p:pic>
        <p:sp>
          <p:nvSpPr>
            <p:cNvPr id="8" name="Title 1">
              <a:extLst>
                <a:ext uri="{FF2B5EF4-FFF2-40B4-BE49-F238E27FC236}">
                  <a16:creationId xmlns:a16="http://schemas.microsoft.com/office/drawing/2014/main" id="{03FCC5F1-E6C4-4992-A8CA-064E596743BA}"/>
                </a:ext>
              </a:extLst>
            </p:cNvPr>
            <p:cNvSpPr txBox="1">
              <a:spLocks/>
            </p:cNvSpPr>
            <p:nvPr userDrawn="1"/>
          </p:nvSpPr>
          <p:spPr>
            <a:xfrm>
              <a:off x="1150205" y="3574445"/>
              <a:ext cx="9869364" cy="936104"/>
            </a:xfrm>
            <a:prstGeom prst="rect">
              <a:avLst/>
            </a:prstGeom>
          </p:spPr>
          <p:txBody>
            <a:bodyPr vert="horz" lIns="91440" tIns="45720" rIns="91440" bIns="45720" rtlCol="0" anchor="t">
              <a:noAutofit/>
            </a:bodyPr>
            <a:lstStyle>
              <a:lvl1pPr algn="ctr" defTabSz="914400" rtl="0" eaLnBrk="1" latinLnBrk="0" hangingPunct="1">
                <a:spcBef>
                  <a:spcPct val="0"/>
                </a:spcBef>
                <a:buNone/>
                <a:defRPr sz="5400" kern="1200" spc="-130" baseline="0">
                  <a:solidFill>
                    <a:schemeClr val="bg2"/>
                  </a:solidFill>
                  <a:latin typeface="Arial" pitchFamily="34" charset="0"/>
                  <a:ea typeface="+mj-ea"/>
                  <a:cs typeface="Arial" pitchFamily="34" charset="0"/>
                </a:defRPr>
              </a:lvl1pPr>
            </a:lstStyle>
            <a:p>
              <a:pPr fontAlgn="auto">
                <a:spcAft>
                  <a:spcPts val="0"/>
                </a:spcAft>
              </a:pPr>
              <a:r>
                <a:rPr lang="en-US" sz="4400">
                  <a:solidFill>
                    <a:schemeClr val="accent2"/>
                  </a:solidFill>
                </a:rPr>
                <a:t>The better </a:t>
              </a:r>
              <a:r>
                <a:rPr lang="en-US" sz="4400"/>
                <a:t>shopping experience</a:t>
              </a:r>
              <a:endParaRPr lang="en-GB" sz="4400"/>
            </a:p>
          </p:txBody>
        </p:sp>
      </p:grpSp>
    </p:spTree>
    <p:extLst>
      <p:ext uri="{BB962C8B-B14F-4D97-AF65-F5344CB8AC3E}">
        <p14:creationId xmlns:p14="http://schemas.microsoft.com/office/powerpoint/2010/main" val="4040482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Chapter page">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571ECAF-F4EB-4754-ABB7-776B0AAB29B8}"/>
              </a:ext>
            </a:extLst>
          </p:cNvPr>
          <p:cNvGrpSpPr/>
          <p:nvPr userDrawn="1"/>
        </p:nvGrpSpPr>
        <p:grpSpPr>
          <a:xfrm>
            <a:off x="790165" y="1943897"/>
            <a:ext cx="10589444" cy="2628500"/>
            <a:chOff x="790165" y="1943897"/>
            <a:chExt cx="10589444" cy="2628500"/>
          </a:xfrm>
        </p:grpSpPr>
        <p:pic>
          <p:nvPicPr>
            <p:cNvPr id="4" name="Picture 3">
              <a:extLst>
                <a:ext uri="{FF2B5EF4-FFF2-40B4-BE49-F238E27FC236}">
                  <a16:creationId xmlns:a16="http://schemas.microsoft.com/office/drawing/2014/main" id="{4DB854F6-348C-4276-9E6E-C646FC6F5B1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35058" y="1943897"/>
              <a:ext cx="2499659" cy="1528060"/>
            </a:xfrm>
            <a:prstGeom prst="rect">
              <a:avLst/>
            </a:prstGeom>
          </p:spPr>
        </p:pic>
        <p:sp>
          <p:nvSpPr>
            <p:cNvPr id="5" name="Title 1">
              <a:extLst>
                <a:ext uri="{FF2B5EF4-FFF2-40B4-BE49-F238E27FC236}">
                  <a16:creationId xmlns:a16="http://schemas.microsoft.com/office/drawing/2014/main" id="{656804A1-34B7-43F1-9302-DB91D0E3C5E5}"/>
                </a:ext>
              </a:extLst>
            </p:cNvPr>
            <p:cNvSpPr txBox="1">
              <a:spLocks/>
            </p:cNvSpPr>
            <p:nvPr userDrawn="1"/>
          </p:nvSpPr>
          <p:spPr>
            <a:xfrm>
              <a:off x="790165" y="3576588"/>
              <a:ext cx="10589444" cy="995809"/>
            </a:xfrm>
            <a:prstGeom prst="rect">
              <a:avLst/>
            </a:prstGeom>
          </p:spPr>
          <p:txBody>
            <a:bodyPr vert="horz" lIns="91440" tIns="45720" rIns="91440" bIns="45720" rtlCol="0" anchor="t">
              <a:noAutofit/>
            </a:bodyPr>
            <a:lstStyle>
              <a:lvl1pPr algn="ctr" defTabSz="914400" rtl="0" eaLnBrk="1" latinLnBrk="0" hangingPunct="1">
                <a:spcBef>
                  <a:spcPct val="0"/>
                </a:spcBef>
                <a:buNone/>
                <a:defRPr sz="5400" kern="1200" spc="-130" baseline="0">
                  <a:solidFill>
                    <a:schemeClr val="bg2"/>
                  </a:solidFill>
                  <a:latin typeface="Arial" pitchFamily="34" charset="0"/>
                  <a:ea typeface="+mj-ea"/>
                  <a:cs typeface="Arial" pitchFamily="34" charset="0"/>
                </a:defRPr>
              </a:lvl1pPr>
            </a:lstStyle>
            <a:p>
              <a:pPr fontAlgn="auto">
                <a:spcAft>
                  <a:spcPts val="0"/>
                </a:spcAft>
              </a:pPr>
              <a:r>
                <a:rPr lang="en-US" sz="4400">
                  <a:solidFill>
                    <a:schemeClr val="accent2"/>
                  </a:solidFill>
                </a:rPr>
                <a:t>The better </a:t>
              </a:r>
              <a:r>
                <a:rPr lang="en-US" sz="4400">
                  <a:solidFill>
                    <a:schemeClr val="tx2"/>
                  </a:solidFill>
                </a:rPr>
                <a:t>shopping experience</a:t>
              </a:r>
              <a:endParaRPr lang="en-GB" sz="4400">
                <a:solidFill>
                  <a:schemeClr val="tx2"/>
                </a:solidFill>
              </a:endParaRPr>
            </a:p>
          </p:txBody>
        </p:sp>
      </p:grpSp>
    </p:spTree>
    <p:extLst>
      <p:ext uri="{BB962C8B-B14F-4D97-AF65-F5344CB8AC3E}">
        <p14:creationId xmlns:p14="http://schemas.microsoft.com/office/powerpoint/2010/main" val="181655686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tandard page">
    <p:spTree>
      <p:nvGrpSpPr>
        <p:cNvPr id="1" name=""/>
        <p:cNvGrpSpPr/>
        <p:nvPr/>
      </p:nvGrpSpPr>
      <p:grpSpPr>
        <a:xfrm>
          <a:off x="0" y="0"/>
          <a:ext cx="0" cy="0"/>
          <a:chOff x="0" y="0"/>
          <a:chExt cx="0" cy="0"/>
        </a:xfrm>
      </p:grpSpPr>
      <p:sp>
        <p:nvSpPr>
          <p:cNvPr id="2" name="Title 1"/>
          <p:cNvSpPr>
            <a:spLocks noGrp="1"/>
          </p:cNvSpPr>
          <p:nvPr>
            <p:ph type="title"/>
          </p:nvPr>
        </p:nvSpPr>
        <p:spPr>
          <a:xfrm>
            <a:off x="541040" y="408236"/>
            <a:ext cx="11088404" cy="1139825"/>
          </a:xfrm>
        </p:spPr>
        <p:txBody>
          <a:bodyPr/>
          <a:lstStyle/>
          <a:p>
            <a:r>
              <a:rPr lang="en-US" dirty="0"/>
              <a:t>Click to edit Master title style</a:t>
            </a:r>
            <a:endParaRPr lang="en-GB" dirty="0"/>
          </a:p>
        </p:txBody>
      </p:sp>
      <p:sp>
        <p:nvSpPr>
          <p:cNvPr id="3" name="Slide Number Placeholder 2"/>
          <p:cNvSpPr>
            <a:spLocks noGrp="1"/>
          </p:cNvSpPr>
          <p:nvPr>
            <p:ph type="sldNum" sz="quarter" idx="10"/>
          </p:nvPr>
        </p:nvSpPr>
        <p:spPr>
          <a:xfrm>
            <a:off x="540271" y="6369099"/>
            <a:ext cx="431279" cy="367036"/>
          </a:xfrm>
        </p:spPr>
        <p:txBody>
          <a:bodyPr/>
          <a:lstStyle/>
          <a:p>
            <a:fld id="{C864BB8D-94B4-466C-94BF-D114C83BF951}" type="slidenum">
              <a:rPr lang="en-GB" smtClean="0"/>
              <a:pPr/>
              <a:t>‹#›</a:t>
            </a:fld>
            <a:endParaRPr lang="en-GB"/>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4155" y="5904252"/>
            <a:ext cx="885348" cy="540353"/>
          </a:xfrm>
          <a:prstGeom prst="rect">
            <a:avLst/>
          </a:prstGeom>
        </p:spPr>
      </p:pic>
      <p:sp>
        <p:nvSpPr>
          <p:cNvPr id="7" name="Text Placeholder 6"/>
          <p:cNvSpPr>
            <a:spLocks noGrp="1"/>
          </p:cNvSpPr>
          <p:nvPr>
            <p:ph type="body" sz="quarter" idx="11"/>
          </p:nvPr>
        </p:nvSpPr>
        <p:spPr>
          <a:xfrm>
            <a:off x="540271" y="1620839"/>
            <a:ext cx="11089232" cy="4051746"/>
          </a:xfrm>
        </p:spPr>
        <p:txBody>
          <a:bodyPr/>
          <a:lstStyle>
            <a:lvl1pPr>
              <a:defRPr>
                <a:solidFill>
                  <a:schemeClr val="accent5"/>
                </a:solidFill>
              </a:defRPr>
            </a:lvl1pPr>
            <a:lvl2pPr marL="174625" indent="-174625">
              <a:defRPr b="0">
                <a:solidFill>
                  <a:schemeClr val="accent5"/>
                </a:solidFill>
              </a:defRPr>
            </a:lvl2pPr>
            <a:lvl3pPr marL="446088" indent="-182563">
              <a:defRPr>
                <a:solidFill>
                  <a:schemeClr val="accent5"/>
                </a:solidFill>
              </a:defRPr>
            </a:lvl3pPr>
          </a:lstStyle>
          <a:p>
            <a:pPr lvl="0"/>
            <a:r>
              <a:rPr lang="en-US" dirty="0"/>
              <a:t>Click to edit Master text styles</a:t>
            </a:r>
          </a:p>
          <a:p>
            <a:pPr lvl="1"/>
            <a:r>
              <a:rPr lang="en-US" dirty="0"/>
              <a:t>Second level</a:t>
            </a:r>
          </a:p>
          <a:p>
            <a:pPr lvl="2"/>
            <a:r>
              <a:rPr lang="en-US" dirty="0"/>
              <a:t>Third level</a:t>
            </a:r>
          </a:p>
        </p:txBody>
      </p:sp>
      <p:sp>
        <p:nvSpPr>
          <p:cNvPr id="9"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358841522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columns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7" name="Content Placeholder 6"/>
          <p:cNvSpPr>
            <a:spLocks noGrp="1"/>
          </p:cNvSpPr>
          <p:nvPr>
            <p:ph sz="quarter" idx="11"/>
          </p:nvPr>
        </p:nvSpPr>
        <p:spPr>
          <a:xfrm>
            <a:off x="539749" y="1620838"/>
            <a:ext cx="5400000" cy="4103687"/>
          </a:xfrm>
        </p:spPr>
        <p:txBody>
          <a:bodyPr/>
          <a:lstStyle>
            <a:lvl2pPr>
              <a:defRPr b="0"/>
            </a:lvl2pPr>
          </a:lstStyle>
          <a:p>
            <a:pPr lvl="0"/>
            <a:r>
              <a:rPr lang="en-US" dirty="0"/>
              <a:t>Click to edit Master text styles</a:t>
            </a:r>
          </a:p>
          <a:p>
            <a:pPr lvl="1"/>
            <a:r>
              <a:rPr lang="en-US" dirty="0"/>
              <a:t>Second level</a:t>
            </a:r>
          </a:p>
          <a:p>
            <a:pPr lvl="2"/>
            <a:r>
              <a:rPr lang="en-US" dirty="0"/>
              <a:t>Third level</a:t>
            </a:r>
          </a:p>
        </p:txBody>
      </p:sp>
      <p:sp>
        <p:nvSpPr>
          <p:cNvPr id="9" name="Content Placeholder 8"/>
          <p:cNvSpPr>
            <a:spLocks noGrp="1"/>
          </p:cNvSpPr>
          <p:nvPr>
            <p:ph sz="quarter" idx="12"/>
          </p:nvPr>
        </p:nvSpPr>
        <p:spPr>
          <a:xfrm>
            <a:off x="6228903" y="1620843"/>
            <a:ext cx="5400600" cy="4103478"/>
          </a:xfrm>
        </p:spPr>
        <p:txBody>
          <a:bodyPr/>
          <a:lstStyle>
            <a:lvl2pPr>
              <a:defRPr b="0"/>
            </a:lvl2pPr>
          </a:lstStyle>
          <a:p>
            <a:pPr lvl="0"/>
            <a:r>
              <a:rPr lang="en-US" dirty="0"/>
              <a:t>Click to edit Master text styles</a:t>
            </a:r>
          </a:p>
          <a:p>
            <a:pPr lvl="1"/>
            <a:r>
              <a:rPr lang="en-US" dirty="0"/>
              <a:t>Second level</a:t>
            </a:r>
          </a:p>
          <a:p>
            <a:pPr lvl="2"/>
            <a:r>
              <a:rPr lang="en-US" dirty="0"/>
              <a:t>Third level</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4155" y="5904252"/>
            <a:ext cx="885348" cy="540353"/>
          </a:xfrm>
          <a:prstGeom prst="rect">
            <a:avLst/>
          </a:prstGeom>
        </p:spPr>
      </p:pic>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91375488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540271" y="408236"/>
            <a:ext cx="11089754" cy="635769"/>
          </a:xfrm>
        </p:spPr>
        <p:txBody>
          <a:bodyPr/>
          <a:lstStyle/>
          <a:p>
            <a:r>
              <a:rPr lang="en-US" dirty="0"/>
              <a:t>Click to edit Master title style</a:t>
            </a:r>
            <a:endParaRPr lang="en-GB" dirty="0"/>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7" name="Content Placeholder 6"/>
          <p:cNvSpPr>
            <a:spLocks noGrp="1"/>
          </p:cNvSpPr>
          <p:nvPr>
            <p:ph sz="quarter" idx="11"/>
          </p:nvPr>
        </p:nvSpPr>
        <p:spPr>
          <a:xfrm>
            <a:off x="540271" y="1116013"/>
            <a:ext cx="11089754" cy="4608512"/>
          </a:xfrm>
        </p:spPr>
        <p:txBody>
          <a:bodyPr/>
          <a:lstStyle>
            <a:lvl2pPr>
              <a:defRPr b="0"/>
            </a:lvl2pPr>
          </a:lstStyle>
          <a:p>
            <a:pPr lvl="0"/>
            <a:r>
              <a:rPr lang="en-US" dirty="0"/>
              <a:t>Click to edit Master text styles</a:t>
            </a:r>
          </a:p>
          <a:p>
            <a:pPr lvl="1"/>
            <a:r>
              <a:rPr lang="en-US" dirty="0"/>
              <a:t>Second level</a:t>
            </a:r>
          </a:p>
          <a:p>
            <a:pPr lvl="2"/>
            <a:r>
              <a:rPr lang="en-US" dirty="0"/>
              <a:t>Third level</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4155" y="5904252"/>
            <a:ext cx="885348" cy="540353"/>
          </a:xfrm>
          <a:prstGeom prst="rect">
            <a:avLst/>
          </a:prstGeom>
        </p:spPr>
      </p:pic>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349750942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Fifth element with picture on right side and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CF32B7-67E7-45F9-A962-ADCA304D1371}"/>
              </a:ext>
            </a:extLst>
          </p:cNvPr>
          <p:cNvSpPr>
            <a:spLocks noGrp="1"/>
          </p:cNvSpPr>
          <p:nvPr>
            <p:ph type="title"/>
          </p:nvPr>
        </p:nvSpPr>
        <p:spPr>
          <a:xfrm>
            <a:off x="541099" y="408236"/>
            <a:ext cx="6119852" cy="1139825"/>
          </a:xfrm>
        </p:spPr>
        <p:txBody>
          <a:bodyPr/>
          <a:lstStyle/>
          <a:p>
            <a:r>
              <a:rPr lang="en-US" dirty="0"/>
              <a:t>Click to edit Master title style</a:t>
            </a:r>
            <a:endParaRPr lang="sv-SE" dirty="0"/>
          </a:p>
        </p:txBody>
      </p:sp>
      <p:sp>
        <p:nvSpPr>
          <p:cNvPr id="3" name="Slide Number Placeholder 2">
            <a:extLst>
              <a:ext uri="{FF2B5EF4-FFF2-40B4-BE49-F238E27FC236}">
                <a16:creationId xmlns:a16="http://schemas.microsoft.com/office/drawing/2014/main" id="{D48C233D-E49A-49D2-A1BA-5C27EAC8F9DD}"/>
              </a:ext>
            </a:extLst>
          </p:cNvPr>
          <p:cNvSpPr>
            <a:spLocks noGrp="1"/>
          </p:cNvSpPr>
          <p:nvPr>
            <p:ph type="sldNum" sz="quarter" idx="10"/>
          </p:nvPr>
        </p:nvSpPr>
        <p:spPr/>
        <p:txBody>
          <a:bodyPr/>
          <a:lstStyle/>
          <a:p>
            <a:fld id="{C864BB8D-94B4-466C-94BF-D114C83BF951}" type="slidenum">
              <a:rPr lang="en-GB" smtClean="0"/>
              <a:pPr/>
              <a:t>‹#›</a:t>
            </a:fld>
            <a:endParaRPr lang="en-GB"/>
          </a:p>
        </p:txBody>
      </p:sp>
      <p:sp>
        <p:nvSpPr>
          <p:cNvPr id="4" name="Footer Placeholder 3">
            <a:extLst>
              <a:ext uri="{FF2B5EF4-FFF2-40B4-BE49-F238E27FC236}">
                <a16:creationId xmlns:a16="http://schemas.microsoft.com/office/drawing/2014/main" id="{5EC0407B-0028-4E56-B688-65172DAEDBFA}"/>
              </a:ext>
            </a:extLst>
          </p:cNvPr>
          <p:cNvSpPr>
            <a:spLocks noGrp="1"/>
          </p:cNvSpPr>
          <p:nvPr>
            <p:ph type="ftr" sz="quarter" idx="11"/>
          </p:nvPr>
        </p:nvSpPr>
        <p:spPr/>
        <p:txBody>
          <a:bodyPr/>
          <a:lstStyle/>
          <a:p>
            <a:r>
              <a:rPr lang="en-US"/>
              <a:t>© HL Display 2019 – All rights reserved</a:t>
            </a:r>
            <a:endParaRPr lang="fr-FR" dirty="0"/>
          </a:p>
        </p:txBody>
      </p:sp>
      <p:sp>
        <p:nvSpPr>
          <p:cNvPr id="6" name="Text Placeholder 6">
            <a:extLst>
              <a:ext uri="{FF2B5EF4-FFF2-40B4-BE49-F238E27FC236}">
                <a16:creationId xmlns:a16="http://schemas.microsoft.com/office/drawing/2014/main" id="{EA918214-0631-461A-AA9C-21FACF61B03F}"/>
              </a:ext>
            </a:extLst>
          </p:cNvPr>
          <p:cNvSpPr>
            <a:spLocks noGrp="1"/>
          </p:cNvSpPr>
          <p:nvPr>
            <p:ph type="body" sz="quarter" idx="13"/>
          </p:nvPr>
        </p:nvSpPr>
        <p:spPr>
          <a:xfrm>
            <a:off x="540271" y="1620839"/>
            <a:ext cx="6120700" cy="4319710"/>
          </a:xfrm>
        </p:spPr>
        <p:txBody>
          <a:bodyPr/>
          <a:lstStyle>
            <a:lvl2pPr marL="174625" indent="-174625">
              <a:defRPr b="0"/>
            </a:lvl2pPr>
            <a:lvl3pPr marL="446088" indent="-182563">
              <a:defRPr/>
            </a:lvl3pPr>
          </a:lstStyle>
          <a:p>
            <a:pPr lvl="0"/>
            <a:r>
              <a:rPr lang="en-US" dirty="0"/>
              <a:t>Click to edit Master text styles</a:t>
            </a:r>
          </a:p>
          <a:p>
            <a:pPr lvl="1"/>
            <a:r>
              <a:rPr lang="en-US" dirty="0"/>
              <a:t>Second level</a:t>
            </a:r>
          </a:p>
          <a:p>
            <a:pPr lvl="2"/>
            <a:r>
              <a:rPr lang="en-US" dirty="0"/>
              <a:t>Third level</a:t>
            </a:r>
          </a:p>
        </p:txBody>
      </p:sp>
      <p:sp>
        <p:nvSpPr>
          <p:cNvPr id="13" name="Picture Placeholder 4">
            <a:extLst>
              <a:ext uri="{FF2B5EF4-FFF2-40B4-BE49-F238E27FC236}">
                <a16:creationId xmlns:a16="http://schemas.microsoft.com/office/drawing/2014/main" id="{97031C2C-0CC6-46C0-AD15-7744DFE72B86}"/>
              </a:ext>
            </a:extLst>
          </p:cNvPr>
          <p:cNvSpPr>
            <a:spLocks noGrp="1"/>
          </p:cNvSpPr>
          <p:nvPr>
            <p:ph type="pic" sz="quarter" idx="14"/>
          </p:nvPr>
        </p:nvSpPr>
        <p:spPr>
          <a:xfrm>
            <a:off x="6527148" y="-8021"/>
            <a:ext cx="5644231" cy="6849362"/>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 name="connsiteX0" fmla="*/ 0 w 5610543"/>
              <a:gd name="connsiteY0" fmla="*/ 0 h 6840538"/>
              <a:gd name="connsiteX1" fmla="*/ 5580063 w 5610543"/>
              <a:gd name="connsiteY1" fmla="*/ 0 h 6840538"/>
              <a:gd name="connsiteX2" fmla="*/ 5610543 w 5610543"/>
              <a:gd name="connsiteY2" fmla="*/ 6825299 h 6840538"/>
              <a:gd name="connsiteX3" fmla="*/ 0 w 5610543"/>
              <a:gd name="connsiteY3" fmla="*/ 6840538 h 6840538"/>
              <a:gd name="connsiteX4" fmla="*/ 0 w 5610543"/>
              <a:gd name="connsiteY4" fmla="*/ 0 h 6840538"/>
              <a:gd name="connsiteX0" fmla="*/ 2246811 w 5610543"/>
              <a:gd name="connsiteY0" fmla="*/ 0 h 6840538"/>
              <a:gd name="connsiteX1" fmla="*/ 5580063 w 5610543"/>
              <a:gd name="connsiteY1" fmla="*/ 0 h 6840538"/>
              <a:gd name="connsiteX2" fmla="*/ 5610543 w 5610543"/>
              <a:gd name="connsiteY2" fmla="*/ 6825299 h 6840538"/>
              <a:gd name="connsiteX3" fmla="*/ 0 w 5610543"/>
              <a:gd name="connsiteY3" fmla="*/ 6840538 h 6840538"/>
              <a:gd name="connsiteX4" fmla="*/ 2246811 w 5610543"/>
              <a:gd name="connsiteY4" fmla="*/ 0 h 6840538"/>
              <a:gd name="connsiteX0" fmla="*/ 2246811 w 5612147"/>
              <a:gd name="connsiteY0" fmla="*/ 8021 h 6848559"/>
              <a:gd name="connsiteX1" fmla="*/ 5612147 w 5612147"/>
              <a:gd name="connsiteY1" fmla="*/ 0 h 6848559"/>
              <a:gd name="connsiteX2" fmla="*/ 5610543 w 5612147"/>
              <a:gd name="connsiteY2" fmla="*/ 6833320 h 6848559"/>
              <a:gd name="connsiteX3" fmla="*/ 0 w 5612147"/>
              <a:gd name="connsiteY3" fmla="*/ 6848559 h 6848559"/>
              <a:gd name="connsiteX4" fmla="*/ 2246811 w 5612147"/>
              <a:gd name="connsiteY4" fmla="*/ 8021 h 6848559"/>
              <a:gd name="connsiteX0" fmla="*/ 2246811 w 5612147"/>
              <a:gd name="connsiteY0" fmla="*/ 8021 h 6849362"/>
              <a:gd name="connsiteX1" fmla="*/ 5612147 w 5612147"/>
              <a:gd name="connsiteY1" fmla="*/ 0 h 6849362"/>
              <a:gd name="connsiteX2" fmla="*/ 5610543 w 5612147"/>
              <a:gd name="connsiteY2" fmla="*/ 6849362 h 6849362"/>
              <a:gd name="connsiteX3" fmla="*/ 0 w 5612147"/>
              <a:gd name="connsiteY3" fmla="*/ 6848559 h 6849362"/>
              <a:gd name="connsiteX4" fmla="*/ 2246811 w 5612147"/>
              <a:gd name="connsiteY4" fmla="*/ 8021 h 6849362"/>
              <a:gd name="connsiteX0" fmla="*/ 2278895 w 5644231"/>
              <a:gd name="connsiteY0" fmla="*/ 8021 h 6849362"/>
              <a:gd name="connsiteX1" fmla="*/ 5644231 w 5644231"/>
              <a:gd name="connsiteY1" fmla="*/ 0 h 6849362"/>
              <a:gd name="connsiteX2" fmla="*/ 5642627 w 5644231"/>
              <a:gd name="connsiteY2" fmla="*/ 6849362 h 6849362"/>
              <a:gd name="connsiteX3" fmla="*/ 0 w 5644231"/>
              <a:gd name="connsiteY3" fmla="*/ 6848559 h 6849362"/>
              <a:gd name="connsiteX4" fmla="*/ 2278895 w 5644231"/>
              <a:gd name="connsiteY4" fmla="*/ 8021 h 6849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4231" h="6849362">
                <a:moveTo>
                  <a:pt x="2278895" y="8021"/>
                </a:moveTo>
                <a:lnTo>
                  <a:pt x="5644231" y="0"/>
                </a:lnTo>
                <a:cubicBezTo>
                  <a:pt x="5643696" y="2277773"/>
                  <a:pt x="5643162" y="4571589"/>
                  <a:pt x="5642627" y="6849362"/>
                </a:cubicBezTo>
                <a:lnTo>
                  <a:pt x="0" y="6848559"/>
                </a:lnTo>
                <a:lnTo>
                  <a:pt x="2278895" y="8021"/>
                </a:lnTo>
                <a:close/>
              </a:path>
            </a:pathLst>
          </a:custGeom>
        </p:spPr>
        <p:txBody>
          <a:bodyPr/>
          <a:lstStyle>
            <a:lvl1pPr>
              <a:defRPr>
                <a:solidFill>
                  <a:schemeClr val="bg1"/>
                </a:solidFill>
              </a:defRPr>
            </a:lvl1pPr>
          </a:lstStyle>
          <a:p>
            <a:endParaRPr lang="en-GB" dirty="0"/>
          </a:p>
        </p:txBody>
      </p:sp>
    </p:spTree>
    <p:extLst>
      <p:ext uri="{BB962C8B-B14F-4D97-AF65-F5344CB8AC3E}">
        <p14:creationId xmlns:p14="http://schemas.microsoft.com/office/powerpoint/2010/main" val="353728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ifth element with picture on left side with white background">
    <p:spTree>
      <p:nvGrpSpPr>
        <p:cNvPr id="1" name=""/>
        <p:cNvGrpSpPr/>
        <p:nvPr/>
      </p:nvGrpSpPr>
      <p:grpSpPr>
        <a:xfrm>
          <a:off x="0" y="0"/>
          <a:ext cx="0" cy="0"/>
          <a:chOff x="0" y="0"/>
          <a:chExt cx="0" cy="0"/>
        </a:xfrm>
      </p:grpSpPr>
      <p:sp>
        <p:nvSpPr>
          <p:cNvPr id="5" name="Picture Placeholder 4"/>
          <p:cNvSpPr>
            <a:spLocks noGrp="1"/>
          </p:cNvSpPr>
          <p:nvPr>
            <p:ph type="pic" sz="quarter" idx="11"/>
          </p:nvPr>
        </p:nvSpPr>
        <p:spPr>
          <a:xfrm>
            <a:off x="0" y="0"/>
            <a:ext cx="5580063" cy="6840538"/>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 name="connsiteX0" fmla="*/ 0 w 5580063"/>
              <a:gd name="connsiteY0" fmla="*/ 0 h 6840538"/>
              <a:gd name="connsiteX1" fmla="*/ 5580063 w 5580063"/>
              <a:gd name="connsiteY1" fmla="*/ 0 h 6840538"/>
              <a:gd name="connsiteX2" fmla="*/ 3314689 w 5580063"/>
              <a:gd name="connsiteY2" fmla="*/ 6827361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298647 w 5580063"/>
              <a:gd name="connsiteY2" fmla="*/ 581670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298647 w 5580063"/>
              <a:gd name="connsiteY2" fmla="*/ 6835382 h 6840538"/>
              <a:gd name="connsiteX3" fmla="*/ 0 w 5580063"/>
              <a:gd name="connsiteY3" fmla="*/ 6840538 h 6840538"/>
              <a:gd name="connsiteX4" fmla="*/ 0 w 5580063"/>
              <a:gd name="connsiteY4" fmla="*/ 0 h 68405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40538">
                <a:moveTo>
                  <a:pt x="0" y="0"/>
                </a:moveTo>
                <a:lnTo>
                  <a:pt x="5580063" y="0"/>
                </a:lnTo>
                <a:lnTo>
                  <a:pt x="3298647" y="6835382"/>
                </a:lnTo>
                <a:lnTo>
                  <a:pt x="0" y="6840538"/>
                </a:lnTo>
                <a:lnTo>
                  <a:pt x="0" y="0"/>
                </a:lnTo>
                <a:close/>
              </a:path>
            </a:pathLst>
          </a:custGeom>
        </p:spPr>
        <p:txBody>
          <a:bodyPr/>
          <a:lstStyle/>
          <a:p>
            <a:endParaRPr lang="en-GB" dirty="0"/>
          </a:p>
        </p:txBody>
      </p:sp>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4155" y="5904252"/>
            <a:ext cx="885348" cy="540353"/>
          </a:xfrm>
          <a:prstGeom prst="rect">
            <a:avLst/>
          </a:prstGeom>
        </p:spPr>
      </p:pic>
      <p:sp>
        <p:nvSpPr>
          <p:cNvPr id="8" name="Title 1">
            <a:extLst>
              <a:ext uri="{FF2B5EF4-FFF2-40B4-BE49-F238E27FC236}">
                <a16:creationId xmlns:a16="http://schemas.microsoft.com/office/drawing/2014/main" id="{C8BB1FAE-292E-4157-8976-7FE70CE00F3C}"/>
              </a:ext>
            </a:extLst>
          </p:cNvPr>
          <p:cNvSpPr>
            <a:spLocks noGrp="1"/>
          </p:cNvSpPr>
          <p:nvPr>
            <p:ph type="title"/>
          </p:nvPr>
        </p:nvSpPr>
        <p:spPr>
          <a:xfrm>
            <a:off x="5607315" y="395933"/>
            <a:ext cx="6022188" cy="1139825"/>
          </a:xfrm>
        </p:spPr>
        <p:txBody>
          <a:bodyPr/>
          <a:lstStyle/>
          <a:p>
            <a:r>
              <a:rPr lang="en-US" dirty="0"/>
              <a:t>Click to edit Master title style</a:t>
            </a:r>
            <a:endParaRPr lang="sv-SE" dirty="0"/>
          </a:p>
        </p:txBody>
      </p:sp>
      <p:sp>
        <p:nvSpPr>
          <p:cNvPr id="9" name="Text Placeholder 6">
            <a:extLst>
              <a:ext uri="{FF2B5EF4-FFF2-40B4-BE49-F238E27FC236}">
                <a16:creationId xmlns:a16="http://schemas.microsoft.com/office/drawing/2014/main" id="{9A537318-C454-4000-AF34-50B2B34EEB8A}"/>
              </a:ext>
            </a:extLst>
          </p:cNvPr>
          <p:cNvSpPr>
            <a:spLocks noGrp="1"/>
          </p:cNvSpPr>
          <p:nvPr>
            <p:ph type="body" sz="quarter" idx="13"/>
          </p:nvPr>
        </p:nvSpPr>
        <p:spPr>
          <a:xfrm>
            <a:off x="5609101" y="1620838"/>
            <a:ext cx="6020401" cy="4103687"/>
          </a:xfrm>
        </p:spPr>
        <p:txBody>
          <a:bodyPr/>
          <a:lstStyle>
            <a:lvl1pPr>
              <a:defRPr>
                <a:solidFill>
                  <a:schemeClr val="accent5"/>
                </a:solidFill>
              </a:defRPr>
            </a:lvl1pPr>
            <a:lvl2pPr marL="174625" indent="-174625">
              <a:defRPr b="0">
                <a:solidFill>
                  <a:schemeClr val="accent5"/>
                </a:solidFill>
              </a:defRPr>
            </a:lvl2pPr>
            <a:lvl3pPr marL="446088" indent="-182563">
              <a:defRPr>
                <a:solidFill>
                  <a:schemeClr val="accent5"/>
                </a:solidFill>
              </a:defRPr>
            </a:lvl3pPr>
          </a:lstStyle>
          <a:p>
            <a:pPr lvl="0"/>
            <a:r>
              <a:rPr lang="en-US" dirty="0"/>
              <a:t>Click to edit Master text styles</a:t>
            </a:r>
          </a:p>
          <a:p>
            <a:pPr lvl="1"/>
            <a:r>
              <a:rPr lang="en-US" dirty="0"/>
              <a:t>Second level</a:t>
            </a:r>
          </a:p>
          <a:p>
            <a:pPr lvl="2"/>
            <a:r>
              <a:rPr lang="en-US" dirty="0"/>
              <a:t>Third level</a:t>
            </a:r>
          </a:p>
        </p:txBody>
      </p:sp>
      <p:sp>
        <p:nvSpPr>
          <p:cNvPr id="11" name="Slide Number Placeholder 5">
            <a:extLst>
              <a:ext uri="{FF2B5EF4-FFF2-40B4-BE49-F238E27FC236}">
                <a16:creationId xmlns:a16="http://schemas.microsoft.com/office/drawing/2014/main" id="{68058425-CE1E-4614-9BA2-469816F85DE2}"/>
              </a:ext>
            </a:extLst>
          </p:cNvPr>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rtl="0" fontAlgn="base">
              <a:spcBef>
                <a:spcPct val="0"/>
              </a:spcBef>
              <a:spcAft>
                <a:spcPct val="0"/>
              </a:spcAft>
              <a:defRPr lang="en-GB" sz="1000" kern="1200" smtClean="0">
                <a:solidFill>
                  <a:schemeClr val="bg1"/>
                </a:solidFill>
                <a:latin typeface="Arial" pitchFamily="34" charset="0"/>
                <a:ea typeface="+mn-ea"/>
                <a:cs typeface="Arial" pitchFamily="34" charset="0"/>
              </a:defRPr>
            </a:lvl1pPr>
          </a:lstStyle>
          <a:p>
            <a:fld id="{C864BB8D-94B4-466C-94BF-D114C83BF951}" type="slidenum">
              <a:rPr lang="sv-SE" smtClean="0"/>
              <a:pPr/>
              <a:t>‹#›</a:t>
            </a:fld>
            <a:endParaRPr lang="sv-SE" dirty="0"/>
          </a:p>
        </p:txBody>
      </p:sp>
      <p:sp>
        <p:nvSpPr>
          <p:cNvPr id="12" name="Footer Placeholder 3">
            <a:extLst>
              <a:ext uri="{FF2B5EF4-FFF2-40B4-BE49-F238E27FC236}">
                <a16:creationId xmlns:a16="http://schemas.microsoft.com/office/drawing/2014/main" id="{F4E754B6-AB21-4195-B464-531BCF6DB10D}"/>
              </a:ext>
            </a:extLst>
          </p:cNvPr>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14887239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ramed picture + coloured slide">
    <p:bg>
      <p:bgPr>
        <a:solidFill>
          <a:schemeClr val="tx2"/>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lvl1pPr>
              <a:defRPr>
                <a:solidFill>
                  <a:schemeClr val="bg1"/>
                </a:solidFill>
              </a:defRPr>
            </a:lvl1pPr>
          </a:lstStyle>
          <a:p>
            <a:endParaRPr lang="en-GB" dirty="0"/>
          </a:p>
        </p:txBody>
      </p:sp>
      <p:sp>
        <p:nvSpPr>
          <p:cNvPr id="2" name="Title 1"/>
          <p:cNvSpPr>
            <a:spLocks noGrp="1"/>
          </p:cNvSpPr>
          <p:nvPr>
            <p:ph type="title"/>
          </p:nvPr>
        </p:nvSpPr>
        <p:spPr>
          <a:xfrm>
            <a:off x="5724847" y="1980109"/>
            <a:ext cx="5654762" cy="2940025"/>
          </a:xfrm>
        </p:spPr>
        <p:txBody>
          <a:bodyPr>
            <a:noAutofit/>
          </a:bodyPr>
          <a:lstStyle>
            <a:lvl1pPr algn="ctr">
              <a:defRPr sz="4000">
                <a:solidFill>
                  <a:schemeClr val="bg2"/>
                </a:solidFill>
              </a:defRPr>
            </a:lvl1pPr>
          </a:lstStyle>
          <a:p>
            <a:r>
              <a:rPr lang="en-US" dirty="0"/>
              <a:t>Click to edit Master title style</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8"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7 – All rights reserved</a:t>
            </a:r>
            <a:endParaRPr lang="fr-FR" dirty="0"/>
          </a:p>
        </p:txBody>
      </p:sp>
    </p:spTree>
    <p:extLst>
      <p:ext uri="{BB962C8B-B14F-4D97-AF65-F5344CB8AC3E}">
        <p14:creationId xmlns:p14="http://schemas.microsoft.com/office/powerpoint/2010/main" val="89019118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e ups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fr-FR" dirty="0"/>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4" name="Picture Placeholder 4"/>
          <p:cNvSpPr>
            <a:spLocks noGrp="1"/>
          </p:cNvSpPr>
          <p:nvPr>
            <p:ph type="pic" sz="quarter" idx="12"/>
          </p:nvPr>
        </p:nvSpPr>
        <p:spPr>
          <a:xfrm>
            <a:off x="4288248" y="1680210"/>
            <a:ext cx="3599871" cy="3180218"/>
          </a:xfrm>
        </p:spPr>
        <p:txBody>
          <a:bodyPr/>
          <a:lstStyle/>
          <a:p>
            <a:endParaRPr lang="fr-FR"/>
          </a:p>
        </p:txBody>
      </p:sp>
      <p:sp>
        <p:nvSpPr>
          <p:cNvPr id="5" name="Picture Placeholder 4"/>
          <p:cNvSpPr>
            <a:spLocks noGrp="1"/>
          </p:cNvSpPr>
          <p:nvPr>
            <p:ph type="pic" sz="quarter" idx="13"/>
          </p:nvPr>
        </p:nvSpPr>
        <p:spPr>
          <a:xfrm>
            <a:off x="8030153" y="1680210"/>
            <a:ext cx="3599871" cy="3180218"/>
          </a:xfrm>
        </p:spPr>
        <p:txBody>
          <a:bodyPr/>
          <a:lstStyle/>
          <a:p>
            <a:endParaRPr lang="fr-FR" dirty="0"/>
          </a:p>
        </p:txBody>
      </p:sp>
      <p:sp>
        <p:nvSpPr>
          <p:cNvPr id="6" name="Text Placeholder 15"/>
          <p:cNvSpPr>
            <a:spLocks noGrp="1"/>
          </p:cNvSpPr>
          <p:nvPr>
            <p:ph type="body" sz="quarter" idx="17"/>
          </p:nvPr>
        </p:nvSpPr>
        <p:spPr>
          <a:xfrm>
            <a:off x="539750" y="5076230"/>
            <a:ext cx="3583772" cy="360263"/>
          </a:xfrm>
        </p:spPr>
        <p:txBody>
          <a:bodyPr>
            <a:noAutofit/>
          </a:bodyPr>
          <a:lstStyle>
            <a:lvl1pPr>
              <a:defRPr sz="1600"/>
            </a:lvl1pPr>
          </a:lstStyle>
          <a:p>
            <a:pPr lvl="0"/>
            <a:r>
              <a:rPr lang="en-US" dirty="0"/>
              <a:t>Edit Master text styles</a:t>
            </a:r>
          </a:p>
        </p:txBody>
      </p:sp>
      <p:sp>
        <p:nvSpPr>
          <p:cNvPr id="7" name="Text Placeholder 15"/>
          <p:cNvSpPr>
            <a:spLocks noGrp="1"/>
          </p:cNvSpPr>
          <p:nvPr>
            <p:ph type="body" sz="quarter" idx="18"/>
          </p:nvPr>
        </p:nvSpPr>
        <p:spPr>
          <a:xfrm>
            <a:off x="4288249" y="5076230"/>
            <a:ext cx="3599870" cy="360263"/>
          </a:xfrm>
        </p:spPr>
        <p:txBody>
          <a:bodyPr>
            <a:noAutofit/>
          </a:bodyPr>
          <a:lstStyle>
            <a:lvl1pPr>
              <a:defRPr sz="1600"/>
            </a:lvl1pPr>
          </a:lstStyle>
          <a:p>
            <a:pPr lvl="0"/>
            <a:r>
              <a:rPr lang="en-US" dirty="0"/>
              <a:t>Edit Master text styles</a:t>
            </a:r>
          </a:p>
        </p:txBody>
      </p:sp>
      <p:sp>
        <p:nvSpPr>
          <p:cNvPr id="8" name="Text Placeholder 15"/>
          <p:cNvSpPr>
            <a:spLocks noGrp="1"/>
          </p:cNvSpPr>
          <p:nvPr>
            <p:ph type="body" sz="quarter" idx="19"/>
          </p:nvPr>
        </p:nvSpPr>
        <p:spPr>
          <a:xfrm>
            <a:off x="8030153" y="5076230"/>
            <a:ext cx="3599872" cy="360263"/>
          </a:xfrm>
        </p:spPr>
        <p:txBody>
          <a:bodyPr>
            <a:noAutofit/>
          </a:bodyPr>
          <a:lstStyle>
            <a:lvl1pPr>
              <a:defRPr sz="1600"/>
            </a:lvl1pPr>
          </a:lstStyle>
          <a:p>
            <a:pPr lvl="0"/>
            <a:r>
              <a:rPr lang="en-US" dirty="0"/>
              <a:t>Edit Master text styles</a:t>
            </a:r>
          </a:p>
        </p:txBody>
      </p:sp>
      <p:sp>
        <p:nvSpPr>
          <p:cNvPr id="9" name="Picture Placeholder 28"/>
          <p:cNvSpPr>
            <a:spLocks noGrp="1"/>
          </p:cNvSpPr>
          <p:nvPr>
            <p:ph type="pic" sz="quarter" idx="20"/>
          </p:nvPr>
        </p:nvSpPr>
        <p:spPr>
          <a:xfrm>
            <a:off x="562442" y="1683112"/>
            <a:ext cx="3583772" cy="3177316"/>
          </a:xfrm>
          <a:custGeom>
            <a:avLst/>
            <a:gdLst>
              <a:gd name="connsiteX0" fmla="*/ 0 w 3444875"/>
              <a:gd name="connsiteY0" fmla="*/ 3149699 h 3149699"/>
              <a:gd name="connsiteX1" fmla="*/ 787425 w 3444875"/>
              <a:gd name="connsiteY1" fmla="*/ 0 h 3149699"/>
              <a:gd name="connsiteX2" fmla="*/ 3444875 w 3444875"/>
              <a:gd name="connsiteY2" fmla="*/ 0 h 3149699"/>
              <a:gd name="connsiteX3" fmla="*/ 2657450 w 3444875"/>
              <a:gd name="connsiteY3" fmla="*/ 3149699 h 3149699"/>
              <a:gd name="connsiteX4" fmla="*/ 0 w 3444875"/>
              <a:gd name="connsiteY4" fmla="*/ 3149699 h 3149699"/>
              <a:gd name="connsiteX0" fmla="*/ 0 w 3444875"/>
              <a:gd name="connsiteY0" fmla="*/ 3149699 h 3161274"/>
              <a:gd name="connsiteX1" fmla="*/ 787425 w 3444875"/>
              <a:gd name="connsiteY1" fmla="*/ 0 h 3161274"/>
              <a:gd name="connsiteX2" fmla="*/ 3444875 w 3444875"/>
              <a:gd name="connsiteY2" fmla="*/ 0 h 3161274"/>
              <a:gd name="connsiteX3" fmla="*/ 3375081 w 3444875"/>
              <a:gd name="connsiteY3" fmla="*/ 3161274 h 3161274"/>
              <a:gd name="connsiteX4" fmla="*/ 0 w 3444875"/>
              <a:gd name="connsiteY4" fmla="*/ 3149699 h 3161274"/>
              <a:gd name="connsiteX0" fmla="*/ 0 w 3444875"/>
              <a:gd name="connsiteY0" fmla="*/ 3149699 h 3161274"/>
              <a:gd name="connsiteX1" fmla="*/ 787425 w 3444875"/>
              <a:gd name="connsiteY1" fmla="*/ 0 h 3161274"/>
              <a:gd name="connsiteX2" fmla="*/ 3444875 w 3444875"/>
              <a:gd name="connsiteY2" fmla="*/ 0 h 3161274"/>
              <a:gd name="connsiteX3" fmla="*/ 3432955 w 3444875"/>
              <a:gd name="connsiteY3" fmla="*/ 3161274 h 3161274"/>
              <a:gd name="connsiteX4" fmla="*/ 0 w 3444875"/>
              <a:gd name="connsiteY4" fmla="*/ 3149699 h 3161274"/>
              <a:gd name="connsiteX0" fmla="*/ 0 w 3583772"/>
              <a:gd name="connsiteY0" fmla="*/ 3161274 h 3161274"/>
              <a:gd name="connsiteX1" fmla="*/ 926322 w 3583772"/>
              <a:gd name="connsiteY1" fmla="*/ 0 h 3161274"/>
              <a:gd name="connsiteX2" fmla="*/ 3583772 w 3583772"/>
              <a:gd name="connsiteY2" fmla="*/ 0 h 3161274"/>
              <a:gd name="connsiteX3" fmla="*/ 3571852 w 3583772"/>
              <a:gd name="connsiteY3" fmla="*/ 3161274 h 3161274"/>
              <a:gd name="connsiteX4" fmla="*/ 0 w 3583772"/>
              <a:gd name="connsiteY4" fmla="*/ 3161274 h 3161274"/>
              <a:gd name="connsiteX0" fmla="*/ 0 w 3583772"/>
              <a:gd name="connsiteY0" fmla="*/ 3161274 h 3161274"/>
              <a:gd name="connsiteX1" fmla="*/ 1030596 w 3583772"/>
              <a:gd name="connsiteY1" fmla="*/ 0 h 3161274"/>
              <a:gd name="connsiteX2" fmla="*/ 3583772 w 3583772"/>
              <a:gd name="connsiteY2" fmla="*/ 0 h 3161274"/>
              <a:gd name="connsiteX3" fmla="*/ 3571852 w 3583772"/>
              <a:gd name="connsiteY3" fmla="*/ 3161274 h 3161274"/>
              <a:gd name="connsiteX4" fmla="*/ 0 w 3583772"/>
              <a:gd name="connsiteY4" fmla="*/ 3161274 h 3161274"/>
              <a:gd name="connsiteX0" fmla="*/ 0 w 3583772"/>
              <a:gd name="connsiteY0" fmla="*/ 3177316 h 3177316"/>
              <a:gd name="connsiteX1" fmla="*/ 1062680 w 3583772"/>
              <a:gd name="connsiteY1" fmla="*/ 0 h 3177316"/>
              <a:gd name="connsiteX2" fmla="*/ 3583772 w 3583772"/>
              <a:gd name="connsiteY2" fmla="*/ 16042 h 3177316"/>
              <a:gd name="connsiteX3" fmla="*/ 3571852 w 3583772"/>
              <a:gd name="connsiteY3" fmla="*/ 3177316 h 3177316"/>
              <a:gd name="connsiteX4" fmla="*/ 0 w 3583772"/>
              <a:gd name="connsiteY4" fmla="*/ 3177316 h 3177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3772" h="3177316">
                <a:moveTo>
                  <a:pt x="0" y="3177316"/>
                </a:moveTo>
                <a:lnTo>
                  <a:pt x="1062680" y="0"/>
                </a:lnTo>
                <a:lnTo>
                  <a:pt x="3583772" y="16042"/>
                </a:lnTo>
                <a:cubicBezTo>
                  <a:pt x="3579799" y="1069800"/>
                  <a:pt x="3575825" y="2123558"/>
                  <a:pt x="3571852" y="3177316"/>
                </a:cubicBezTo>
                <a:lnTo>
                  <a:pt x="0" y="3177316"/>
                </a:lnTo>
                <a:close/>
              </a:path>
            </a:pathLst>
          </a:custGeom>
          <a:noFill/>
        </p:spPr>
        <p:txBody>
          <a:bodyPr/>
          <a:lstStyle/>
          <a:p>
            <a:endParaRPr lang="fr-FR" dirty="0"/>
          </a:p>
        </p:txBody>
      </p:sp>
      <p:sp>
        <p:nvSpPr>
          <p:cNvPr id="11"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pic>
        <p:nvPicPr>
          <p:cNvPr id="12" name="Picture 11">
            <a:extLst>
              <a:ext uri="{FF2B5EF4-FFF2-40B4-BE49-F238E27FC236}">
                <a16:creationId xmlns:a16="http://schemas.microsoft.com/office/drawing/2014/main" id="{7265A276-E0C9-41CF-9573-D3228C6D698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4155" y="5904252"/>
            <a:ext cx="885348" cy="540353"/>
          </a:xfrm>
          <a:prstGeom prst="rect">
            <a:avLst/>
          </a:prstGeom>
        </p:spPr>
      </p:pic>
    </p:spTree>
    <p:extLst>
      <p:ext uri="{BB962C8B-B14F-4D97-AF65-F5344CB8AC3E}">
        <p14:creationId xmlns:p14="http://schemas.microsoft.com/office/powerpoint/2010/main" val="328392552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hapter pa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0165" y="1908101"/>
            <a:ext cx="10589444" cy="995809"/>
          </a:xfrm>
        </p:spPr>
        <p:txBody>
          <a:bodyPr>
            <a:noAutofit/>
          </a:bodyPr>
          <a:lstStyle>
            <a:lvl1pPr algn="ctr">
              <a:defRPr sz="4000">
                <a:solidFill>
                  <a:schemeClr val="bg2"/>
                </a:solidFill>
              </a:defRPr>
            </a:lvl1pPr>
          </a:lstStyle>
          <a:p>
            <a:r>
              <a:rPr lang="en-US" dirty="0"/>
              <a:t>Click to edit Master title style</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7"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207374230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ue fifth element with picture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8B57492-A1DF-4E96-AC19-E82F25ADCE3D}"/>
              </a:ext>
            </a:extLst>
          </p:cNvPr>
          <p:cNvSpPr/>
          <p:nvPr userDrawn="1"/>
        </p:nvSpPr>
        <p:spPr>
          <a:xfrm>
            <a:off x="-14939" y="-9627"/>
            <a:ext cx="6099827" cy="6853029"/>
          </a:xfrm>
          <a:custGeom>
            <a:avLst/>
            <a:gdLst>
              <a:gd name="connsiteX0" fmla="*/ 0 w 5580063"/>
              <a:gd name="connsiteY0" fmla="*/ 0 h 6851424"/>
              <a:gd name="connsiteX1" fmla="*/ 5580063 w 5580063"/>
              <a:gd name="connsiteY1" fmla="*/ 0 h 6851424"/>
              <a:gd name="connsiteX2" fmla="*/ 5580063 w 5580063"/>
              <a:gd name="connsiteY2" fmla="*/ 6851424 h 6851424"/>
              <a:gd name="connsiteX3" fmla="*/ 0 w 5580063"/>
              <a:gd name="connsiteY3" fmla="*/ 6851424 h 6851424"/>
              <a:gd name="connsiteX4" fmla="*/ 0 w 5580063"/>
              <a:gd name="connsiteY4" fmla="*/ 0 h 6851424"/>
              <a:gd name="connsiteX0" fmla="*/ 0 w 5580063"/>
              <a:gd name="connsiteY0" fmla="*/ 0 h 6861934"/>
              <a:gd name="connsiteX1" fmla="*/ 5580063 w 5580063"/>
              <a:gd name="connsiteY1" fmla="*/ 0 h 6861934"/>
              <a:gd name="connsiteX2" fmla="*/ 3898408 w 5580063"/>
              <a:gd name="connsiteY2" fmla="*/ 6861934 h 6861934"/>
              <a:gd name="connsiteX3" fmla="*/ 0 w 5580063"/>
              <a:gd name="connsiteY3" fmla="*/ 6851424 h 6861934"/>
              <a:gd name="connsiteX4" fmla="*/ 0 w 5580063"/>
              <a:gd name="connsiteY4" fmla="*/ 0 h 6861934"/>
              <a:gd name="connsiteX0" fmla="*/ 0 w 5580063"/>
              <a:gd name="connsiteY0" fmla="*/ 0 h 6851424"/>
              <a:gd name="connsiteX1" fmla="*/ 5580063 w 5580063"/>
              <a:gd name="connsiteY1" fmla="*/ 0 h 6851424"/>
              <a:gd name="connsiteX2" fmla="*/ 3057580 w 5580063"/>
              <a:gd name="connsiteY2" fmla="*/ 6851424 h 6851424"/>
              <a:gd name="connsiteX3" fmla="*/ 0 w 5580063"/>
              <a:gd name="connsiteY3" fmla="*/ 6851424 h 6851424"/>
              <a:gd name="connsiteX4" fmla="*/ 0 w 5580063"/>
              <a:gd name="connsiteY4" fmla="*/ 0 h 6851424"/>
              <a:gd name="connsiteX0" fmla="*/ 0 w 5580063"/>
              <a:gd name="connsiteY0" fmla="*/ 0 h 6851424"/>
              <a:gd name="connsiteX1" fmla="*/ 5580063 w 5580063"/>
              <a:gd name="connsiteY1" fmla="*/ 0 h 6851424"/>
              <a:gd name="connsiteX2" fmla="*/ 3404422 w 5580063"/>
              <a:gd name="connsiteY2" fmla="*/ 6851424 h 6851424"/>
              <a:gd name="connsiteX3" fmla="*/ 0 w 5580063"/>
              <a:gd name="connsiteY3" fmla="*/ 6851424 h 6851424"/>
              <a:gd name="connsiteX4" fmla="*/ 0 w 5580063"/>
              <a:gd name="connsiteY4" fmla="*/ 0 h 6851424"/>
              <a:gd name="connsiteX0" fmla="*/ 0 w 5580063"/>
              <a:gd name="connsiteY0" fmla="*/ 0 h 6851424"/>
              <a:gd name="connsiteX1" fmla="*/ 5580063 w 5580063"/>
              <a:gd name="connsiteY1" fmla="*/ 0 h 6851424"/>
              <a:gd name="connsiteX2" fmla="*/ 3300149 w 5580063"/>
              <a:gd name="connsiteY2" fmla="*/ 6835382 h 6851424"/>
              <a:gd name="connsiteX3" fmla="*/ 0 w 5580063"/>
              <a:gd name="connsiteY3" fmla="*/ 6851424 h 6851424"/>
              <a:gd name="connsiteX4" fmla="*/ 0 w 5580063"/>
              <a:gd name="connsiteY4" fmla="*/ 0 h 6851424"/>
              <a:gd name="connsiteX0" fmla="*/ 0 w 5580063"/>
              <a:gd name="connsiteY0" fmla="*/ 0 h 6851424"/>
              <a:gd name="connsiteX1" fmla="*/ 5580063 w 5580063"/>
              <a:gd name="connsiteY1" fmla="*/ 0 h 6851424"/>
              <a:gd name="connsiteX2" fmla="*/ 3300149 w 5580063"/>
              <a:gd name="connsiteY2" fmla="*/ 6843403 h 6851424"/>
              <a:gd name="connsiteX3" fmla="*/ 0 w 5580063"/>
              <a:gd name="connsiteY3" fmla="*/ 6851424 h 6851424"/>
              <a:gd name="connsiteX4" fmla="*/ 0 w 5580063"/>
              <a:gd name="connsiteY4" fmla="*/ 0 h 6851424"/>
              <a:gd name="connsiteX0" fmla="*/ 0 w 5580063"/>
              <a:gd name="connsiteY0" fmla="*/ 0 h 7108098"/>
              <a:gd name="connsiteX1" fmla="*/ 5580063 w 5580063"/>
              <a:gd name="connsiteY1" fmla="*/ 0 h 7108098"/>
              <a:gd name="connsiteX2" fmla="*/ 2714612 w 5580063"/>
              <a:gd name="connsiteY2" fmla="*/ 7108098 h 7108098"/>
              <a:gd name="connsiteX3" fmla="*/ 0 w 5580063"/>
              <a:gd name="connsiteY3" fmla="*/ 6851424 h 7108098"/>
              <a:gd name="connsiteX4" fmla="*/ 0 w 5580063"/>
              <a:gd name="connsiteY4" fmla="*/ 0 h 7108098"/>
              <a:gd name="connsiteX0" fmla="*/ 0 w 5580063"/>
              <a:gd name="connsiteY0" fmla="*/ 0 h 6851424"/>
              <a:gd name="connsiteX1" fmla="*/ 5580063 w 5580063"/>
              <a:gd name="connsiteY1" fmla="*/ 0 h 6851424"/>
              <a:gd name="connsiteX2" fmla="*/ 3300149 w 5580063"/>
              <a:gd name="connsiteY2" fmla="*/ 6843403 h 6851424"/>
              <a:gd name="connsiteX3" fmla="*/ 0 w 5580063"/>
              <a:gd name="connsiteY3" fmla="*/ 6851424 h 6851424"/>
              <a:gd name="connsiteX4" fmla="*/ 0 w 5580063"/>
              <a:gd name="connsiteY4" fmla="*/ 0 h 6851424"/>
              <a:gd name="connsiteX0" fmla="*/ 0 w 5734067"/>
              <a:gd name="connsiteY0" fmla="*/ 0 h 6861050"/>
              <a:gd name="connsiteX1" fmla="*/ 5734067 w 5734067"/>
              <a:gd name="connsiteY1" fmla="*/ 9626 h 6861050"/>
              <a:gd name="connsiteX2" fmla="*/ 3454153 w 5734067"/>
              <a:gd name="connsiteY2" fmla="*/ 6853029 h 6861050"/>
              <a:gd name="connsiteX3" fmla="*/ 154004 w 5734067"/>
              <a:gd name="connsiteY3" fmla="*/ 6861050 h 6861050"/>
              <a:gd name="connsiteX4" fmla="*/ 0 w 5734067"/>
              <a:gd name="connsiteY4" fmla="*/ 0 h 6861050"/>
              <a:gd name="connsiteX0" fmla="*/ 0 w 5734067"/>
              <a:gd name="connsiteY0" fmla="*/ 0 h 6861050"/>
              <a:gd name="connsiteX1" fmla="*/ 5734067 w 5734067"/>
              <a:gd name="connsiteY1" fmla="*/ 9626 h 6861050"/>
              <a:gd name="connsiteX2" fmla="*/ 3454153 w 5734067"/>
              <a:gd name="connsiteY2" fmla="*/ 6853029 h 6861050"/>
              <a:gd name="connsiteX3" fmla="*/ 0 w 5734067"/>
              <a:gd name="connsiteY3" fmla="*/ 6861050 h 6861050"/>
              <a:gd name="connsiteX4" fmla="*/ 0 w 5734067"/>
              <a:gd name="connsiteY4" fmla="*/ 0 h 6861050"/>
              <a:gd name="connsiteX0" fmla="*/ 0 w 5734067"/>
              <a:gd name="connsiteY0" fmla="*/ 0 h 6853029"/>
              <a:gd name="connsiteX1" fmla="*/ 5734067 w 5734067"/>
              <a:gd name="connsiteY1" fmla="*/ 9626 h 6853029"/>
              <a:gd name="connsiteX2" fmla="*/ 3454153 w 5734067"/>
              <a:gd name="connsiteY2" fmla="*/ 6853029 h 6853029"/>
              <a:gd name="connsiteX3" fmla="*/ 298383 w 5734067"/>
              <a:gd name="connsiteY3" fmla="*/ 6466414 h 6853029"/>
              <a:gd name="connsiteX4" fmla="*/ 0 w 5734067"/>
              <a:gd name="connsiteY4" fmla="*/ 0 h 6853029"/>
              <a:gd name="connsiteX0" fmla="*/ 0 w 5734067"/>
              <a:gd name="connsiteY0" fmla="*/ 0 h 6853029"/>
              <a:gd name="connsiteX1" fmla="*/ 5734067 w 5734067"/>
              <a:gd name="connsiteY1" fmla="*/ 9626 h 6853029"/>
              <a:gd name="connsiteX2" fmla="*/ 3454153 w 5734067"/>
              <a:gd name="connsiteY2" fmla="*/ 6853029 h 6853029"/>
              <a:gd name="connsiteX3" fmla="*/ 9625 w 5734067"/>
              <a:gd name="connsiteY3" fmla="*/ 6851425 h 6853029"/>
              <a:gd name="connsiteX4" fmla="*/ 0 w 5734067"/>
              <a:gd name="connsiteY4" fmla="*/ 0 h 6853029"/>
              <a:gd name="connsiteX0" fmla="*/ 0 w 6099827"/>
              <a:gd name="connsiteY0" fmla="*/ 0 h 6853029"/>
              <a:gd name="connsiteX1" fmla="*/ 6099827 w 6099827"/>
              <a:gd name="connsiteY1" fmla="*/ 9626 h 6853029"/>
              <a:gd name="connsiteX2" fmla="*/ 3819913 w 6099827"/>
              <a:gd name="connsiteY2" fmla="*/ 6853029 h 6853029"/>
              <a:gd name="connsiteX3" fmla="*/ 375385 w 6099827"/>
              <a:gd name="connsiteY3" fmla="*/ 6851425 h 6853029"/>
              <a:gd name="connsiteX4" fmla="*/ 0 w 6099827"/>
              <a:gd name="connsiteY4" fmla="*/ 0 h 6853029"/>
              <a:gd name="connsiteX0" fmla="*/ 0 w 6099827"/>
              <a:gd name="connsiteY0" fmla="*/ 0 h 6853029"/>
              <a:gd name="connsiteX1" fmla="*/ 6099827 w 6099827"/>
              <a:gd name="connsiteY1" fmla="*/ 9626 h 6853029"/>
              <a:gd name="connsiteX2" fmla="*/ 3819913 w 6099827"/>
              <a:gd name="connsiteY2" fmla="*/ 6853029 h 6853029"/>
              <a:gd name="connsiteX3" fmla="*/ 9625 w 6099827"/>
              <a:gd name="connsiteY3" fmla="*/ 6841799 h 6853029"/>
              <a:gd name="connsiteX4" fmla="*/ 0 w 6099827"/>
              <a:gd name="connsiteY4" fmla="*/ 0 h 6853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827" h="6853029">
                <a:moveTo>
                  <a:pt x="0" y="0"/>
                </a:moveTo>
                <a:lnTo>
                  <a:pt x="6099827" y="9626"/>
                </a:lnTo>
                <a:lnTo>
                  <a:pt x="3819913" y="6853029"/>
                </a:lnTo>
                <a:lnTo>
                  <a:pt x="9625" y="6841799"/>
                </a:lnTo>
                <a:cubicBezTo>
                  <a:pt x="6417" y="4557991"/>
                  <a:pt x="3208" y="2283808"/>
                  <a:pt x="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9" name="Picture 8">
            <a:extLst>
              <a:ext uri="{FF2B5EF4-FFF2-40B4-BE49-F238E27FC236}">
                <a16:creationId xmlns:a16="http://schemas.microsoft.com/office/drawing/2014/main" id="{8793E735-61BB-4E89-AE53-0D73BFF020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4155" y="5904252"/>
            <a:ext cx="885348" cy="540353"/>
          </a:xfrm>
          <a:prstGeom prst="rect">
            <a:avLst/>
          </a:prstGeom>
        </p:spPr>
      </p:pic>
      <p:sp>
        <p:nvSpPr>
          <p:cNvPr id="12" name="Title 1">
            <a:extLst>
              <a:ext uri="{FF2B5EF4-FFF2-40B4-BE49-F238E27FC236}">
                <a16:creationId xmlns:a16="http://schemas.microsoft.com/office/drawing/2014/main" id="{324132B0-42DE-4393-87CC-00E1B0AD21EF}"/>
              </a:ext>
            </a:extLst>
          </p:cNvPr>
          <p:cNvSpPr>
            <a:spLocks noGrp="1"/>
          </p:cNvSpPr>
          <p:nvPr>
            <p:ph type="title"/>
          </p:nvPr>
        </p:nvSpPr>
        <p:spPr>
          <a:xfrm>
            <a:off x="539750" y="399362"/>
            <a:ext cx="4248993" cy="1139825"/>
          </a:xfrm>
        </p:spPr>
        <p:txBody>
          <a:bodyPr/>
          <a:lstStyle>
            <a:lvl1pPr>
              <a:defRPr>
                <a:solidFill>
                  <a:schemeClr val="bg2"/>
                </a:solidFill>
              </a:defRPr>
            </a:lvl1pPr>
          </a:lstStyle>
          <a:p>
            <a:r>
              <a:rPr lang="en-US" dirty="0"/>
              <a:t>Click to edit Master title style</a:t>
            </a:r>
            <a:endParaRPr lang="sv-SE" dirty="0"/>
          </a:p>
        </p:txBody>
      </p:sp>
      <p:sp>
        <p:nvSpPr>
          <p:cNvPr id="13" name="Text Placeholder 6">
            <a:extLst>
              <a:ext uri="{FF2B5EF4-FFF2-40B4-BE49-F238E27FC236}">
                <a16:creationId xmlns:a16="http://schemas.microsoft.com/office/drawing/2014/main" id="{25D070B2-C554-43E5-88F5-599106F7B893}"/>
              </a:ext>
            </a:extLst>
          </p:cNvPr>
          <p:cNvSpPr>
            <a:spLocks noGrp="1"/>
          </p:cNvSpPr>
          <p:nvPr>
            <p:ph type="body" sz="quarter" idx="13"/>
          </p:nvPr>
        </p:nvSpPr>
        <p:spPr>
          <a:xfrm>
            <a:off x="540271" y="1623499"/>
            <a:ext cx="4248472" cy="3096344"/>
          </a:xfrm>
        </p:spPr>
        <p:txBody>
          <a:bodyPr/>
          <a:lstStyle>
            <a:lvl1pPr>
              <a:defRPr>
                <a:solidFill>
                  <a:schemeClr val="bg2"/>
                </a:solidFill>
              </a:defRPr>
            </a:lvl1pPr>
            <a:lvl2pPr marL="174625" indent="-174625">
              <a:defRPr b="0">
                <a:solidFill>
                  <a:schemeClr val="bg2"/>
                </a:solidFill>
              </a:defRPr>
            </a:lvl2pPr>
            <a:lvl3pPr marL="446088" indent="-182563">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a:extLst>
              <a:ext uri="{FF2B5EF4-FFF2-40B4-BE49-F238E27FC236}">
                <a16:creationId xmlns:a16="http://schemas.microsoft.com/office/drawing/2014/main" id="{5195999A-453B-4589-BDE4-5E44A837CB34}"/>
              </a:ext>
            </a:extLst>
          </p:cNvPr>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rtl="0" fontAlgn="base">
              <a:spcBef>
                <a:spcPct val="0"/>
              </a:spcBef>
              <a:spcAft>
                <a:spcPct val="0"/>
              </a:spcAft>
              <a:defRPr lang="en-GB" sz="1000" kern="1200" smtClean="0">
                <a:solidFill>
                  <a:schemeClr val="bg1"/>
                </a:solidFill>
                <a:latin typeface="Arial" pitchFamily="34" charset="0"/>
                <a:ea typeface="+mn-ea"/>
                <a:cs typeface="Arial" pitchFamily="34" charset="0"/>
              </a:defRPr>
            </a:lvl1pPr>
          </a:lstStyle>
          <a:p>
            <a:fld id="{C864BB8D-94B4-466C-94BF-D114C83BF951}" type="slidenum">
              <a:rPr lang="sv-SE" smtClean="0"/>
              <a:pPr/>
              <a:t>‹#›</a:t>
            </a:fld>
            <a:endParaRPr lang="sv-SE" dirty="0"/>
          </a:p>
        </p:txBody>
      </p:sp>
      <p:sp>
        <p:nvSpPr>
          <p:cNvPr id="15" name="Footer Placeholder 3">
            <a:extLst>
              <a:ext uri="{FF2B5EF4-FFF2-40B4-BE49-F238E27FC236}">
                <a16:creationId xmlns:a16="http://schemas.microsoft.com/office/drawing/2014/main" id="{E80D1143-1255-4380-B644-73BF4291E6EB}"/>
              </a:ext>
            </a:extLst>
          </p:cNvPr>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36586303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ransparent Blue fifth element with picture background">
    <p:spTree>
      <p:nvGrpSpPr>
        <p:cNvPr id="1" name=""/>
        <p:cNvGrpSpPr/>
        <p:nvPr/>
      </p:nvGrpSpPr>
      <p:grpSpPr>
        <a:xfrm>
          <a:off x="0" y="0"/>
          <a:ext cx="0" cy="0"/>
          <a:chOff x="0" y="0"/>
          <a:chExt cx="0" cy="0"/>
        </a:xfrm>
      </p:grpSpPr>
      <p:sp>
        <p:nvSpPr>
          <p:cNvPr id="16" name="Rectangle 6">
            <a:extLst>
              <a:ext uri="{FF2B5EF4-FFF2-40B4-BE49-F238E27FC236}">
                <a16:creationId xmlns:a16="http://schemas.microsoft.com/office/drawing/2014/main" id="{FB06032D-A0B6-4EC8-9968-DE2A9EC1DAEF}"/>
              </a:ext>
            </a:extLst>
          </p:cNvPr>
          <p:cNvSpPr/>
          <p:nvPr userDrawn="1"/>
        </p:nvSpPr>
        <p:spPr>
          <a:xfrm>
            <a:off x="-14939" y="-9627"/>
            <a:ext cx="6099827" cy="6853029"/>
          </a:xfrm>
          <a:custGeom>
            <a:avLst/>
            <a:gdLst>
              <a:gd name="connsiteX0" fmla="*/ 0 w 5580063"/>
              <a:gd name="connsiteY0" fmla="*/ 0 h 6851424"/>
              <a:gd name="connsiteX1" fmla="*/ 5580063 w 5580063"/>
              <a:gd name="connsiteY1" fmla="*/ 0 h 6851424"/>
              <a:gd name="connsiteX2" fmla="*/ 5580063 w 5580063"/>
              <a:gd name="connsiteY2" fmla="*/ 6851424 h 6851424"/>
              <a:gd name="connsiteX3" fmla="*/ 0 w 5580063"/>
              <a:gd name="connsiteY3" fmla="*/ 6851424 h 6851424"/>
              <a:gd name="connsiteX4" fmla="*/ 0 w 5580063"/>
              <a:gd name="connsiteY4" fmla="*/ 0 h 6851424"/>
              <a:gd name="connsiteX0" fmla="*/ 0 w 5580063"/>
              <a:gd name="connsiteY0" fmla="*/ 0 h 6861934"/>
              <a:gd name="connsiteX1" fmla="*/ 5580063 w 5580063"/>
              <a:gd name="connsiteY1" fmla="*/ 0 h 6861934"/>
              <a:gd name="connsiteX2" fmla="*/ 3898408 w 5580063"/>
              <a:gd name="connsiteY2" fmla="*/ 6861934 h 6861934"/>
              <a:gd name="connsiteX3" fmla="*/ 0 w 5580063"/>
              <a:gd name="connsiteY3" fmla="*/ 6851424 h 6861934"/>
              <a:gd name="connsiteX4" fmla="*/ 0 w 5580063"/>
              <a:gd name="connsiteY4" fmla="*/ 0 h 6861934"/>
              <a:gd name="connsiteX0" fmla="*/ 0 w 5580063"/>
              <a:gd name="connsiteY0" fmla="*/ 0 h 6851424"/>
              <a:gd name="connsiteX1" fmla="*/ 5580063 w 5580063"/>
              <a:gd name="connsiteY1" fmla="*/ 0 h 6851424"/>
              <a:gd name="connsiteX2" fmla="*/ 3057580 w 5580063"/>
              <a:gd name="connsiteY2" fmla="*/ 6851424 h 6851424"/>
              <a:gd name="connsiteX3" fmla="*/ 0 w 5580063"/>
              <a:gd name="connsiteY3" fmla="*/ 6851424 h 6851424"/>
              <a:gd name="connsiteX4" fmla="*/ 0 w 5580063"/>
              <a:gd name="connsiteY4" fmla="*/ 0 h 6851424"/>
              <a:gd name="connsiteX0" fmla="*/ 0 w 5580063"/>
              <a:gd name="connsiteY0" fmla="*/ 0 h 6851424"/>
              <a:gd name="connsiteX1" fmla="*/ 5580063 w 5580063"/>
              <a:gd name="connsiteY1" fmla="*/ 0 h 6851424"/>
              <a:gd name="connsiteX2" fmla="*/ 3404422 w 5580063"/>
              <a:gd name="connsiteY2" fmla="*/ 6851424 h 6851424"/>
              <a:gd name="connsiteX3" fmla="*/ 0 w 5580063"/>
              <a:gd name="connsiteY3" fmla="*/ 6851424 h 6851424"/>
              <a:gd name="connsiteX4" fmla="*/ 0 w 5580063"/>
              <a:gd name="connsiteY4" fmla="*/ 0 h 6851424"/>
              <a:gd name="connsiteX0" fmla="*/ 0 w 5580063"/>
              <a:gd name="connsiteY0" fmla="*/ 0 h 6851424"/>
              <a:gd name="connsiteX1" fmla="*/ 5580063 w 5580063"/>
              <a:gd name="connsiteY1" fmla="*/ 0 h 6851424"/>
              <a:gd name="connsiteX2" fmla="*/ 3300149 w 5580063"/>
              <a:gd name="connsiteY2" fmla="*/ 6835382 h 6851424"/>
              <a:gd name="connsiteX3" fmla="*/ 0 w 5580063"/>
              <a:gd name="connsiteY3" fmla="*/ 6851424 h 6851424"/>
              <a:gd name="connsiteX4" fmla="*/ 0 w 5580063"/>
              <a:gd name="connsiteY4" fmla="*/ 0 h 6851424"/>
              <a:gd name="connsiteX0" fmla="*/ 0 w 5580063"/>
              <a:gd name="connsiteY0" fmla="*/ 0 h 6851424"/>
              <a:gd name="connsiteX1" fmla="*/ 5580063 w 5580063"/>
              <a:gd name="connsiteY1" fmla="*/ 0 h 6851424"/>
              <a:gd name="connsiteX2" fmla="*/ 3300149 w 5580063"/>
              <a:gd name="connsiteY2" fmla="*/ 6843403 h 6851424"/>
              <a:gd name="connsiteX3" fmla="*/ 0 w 5580063"/>
              <a:gd name="connsiteY3" fmla="*/ 6851424 h 6851424"/>
              <a:gd name="connsiteX4" fmla="*/ 0 w 5580063"/>
              <a:gd name="connsiteY4" fmla="*/ 0 h 6851424"/>
              <a:gd name="connsiteX0" fmla="*/ 0 w 5580063"/>
              <a:gd name="connsiteY0" fmla="*/ 0 h 7108098"/>
              <a:gd name="connsiteX1" fmla="*/ 5580063 w 5580063"/>
              <a:gd name="connsiteY1" fmla="*/ 0 h 7108098"/>
              <a:gd name="connsiteX2" fmla="*/ 2714612 w 5580063"/>
              <a:gd name="connsiteY2" fmla="*/ 7108098 h 7108098"/>
              <a:gd name="connsiteX3" fmla="*/ 0 w 5580063"/>
              <a:gd name="connsiteY3" fmla="*/ 6851424 h 7108098"/>
              <a:gd name="connsiteX4" fmla="*/ 0 w 5580063"/>
              <a:gd name="connsiteY4" fmla="*/ 0 h 7108098"/>
              <a:gd name="connsiteX0" fmla="*/ 0 w 5580063"/>
              <a:gd name="connsiteY0" fmla="*/ 0 h 6851424"/>
              <a:gd name="connsiteX1" fmla="*/ 5580063 w 5580063"/>
              <a:gd name="connsiteY1" fmla="*/ 0 h 6851424"/>
              <a:gd name="connsiteX2" fmla="*/ 3300149 w 5580063"/>
              <a:gd name="connsiteY2" fmla="*/ 6843403 h 6851424"/>
              <a:gd name="connsiteX3" fmla="*/ 0 w 5580063"/>
              <a:gd name="connsiteY3" fmla="*/ 6851424 h 6851424"/>
              <a:gd name="connsiteX4" fmla="*/ 0 w 5580063"/>
              <a:gd name="connsiteY4" fmla="*/ 0 h 6851424"/>
              <a:gd name="connsiteX0" fmla="*/ 0 w 5734067"/>
              <a:gd name="connsiteY0" fmla="*/ 0 h 6861050"/>
              <a:gd name="connsiteX1" fmla="*/ 5734067 w 5734067"/>
              <a:gd name="connsiteY1" fmla="*/ 9626 h 6861050"/>
              <a:gd name="connsiteX2" fmla="*/ 3454153 w 5734067"/>
              <a:gd name="connsiteY2" fmla="*/ 6853029 h 6861050"/>
              <a:gd name="connsiteX3" fmla="*/ 154004 w 5734067"/>
              <a:gd name="connsiteY3" fmla="*/ 6861050 h 6861050"/>
              <a:gd name="connsiteX4" fmla="*/ 0 w 5734067"/>
              <a:gd name="connsiteY4" fmla="*/ 0 h 6861050"/>
              <a:gd name="connsiteX0" fmla="*/ 0 w 5734067"/>
              <a:gd name="connsiteY0" fmla="*/ 0 h 6861050"/>
              <a:gd name="connsiteX1" fmla="*/ 5734067 w 5734067"/>
              <a:gd name="connsiteY1" fmla="*/ 9626 h 6861050"/>
              <a:gd name="connsiteX2" fmla="*/ 3454153 w 5734067"/>
              <a:gd name="connsiteY2" fmla="*/ 6853029 h 6861050"/>
              <a:gd name="connsiteX3" fmla="*/ 0 w 5734067"/>
              <a:gd name="connsiteY3" fmla="*/ 6861050 h 6861050"/>
              <a:gd name="connsiteX4" fmla="*/ 0 w 5734067"/>
              <a:gd name="connsiteY4" fmla="*/ 0 h 6861050"/>
              <a:gd name="connsiteX0" fmla="*/ 0 w 5734067"/>
              <a:gd name="connsiteY0" fmla="*/ 0 h 6853029"/>
              <a:gd name="connsiteX1" fmla="*/ 5734067 w 5734067"/>
              <a:gd name="connsiteY1" fmla="*/ 9626 h 6853029"/>
              <a:gd name="connsiteX2" fmla="*/ 3454153 w 5734067"/>
              <a:gd name="connsiteY2" fmla="*/ 6853029 h 6853029"/>
              <a:gd name="connsiteX3" fmla="*/ 298383 w 5734067"/>
              <a:gd name="connsiteY3" fmla="*/ 6466414 h 6853029"/>
              <a:gd name="connsiteX4" fmla="*/ 0 w 5734067"/>
              <a:gd name="connsiteY4" fmla="*/ 0 h 6853029"/>
              <a:gd name="connsiteX0" fmla="*/ 0 w 5734067"/>
              <a:gd name="connsiteY0" fmla="*/ 0 h 6853029"/>
              <a:gd name="connsiteX1" fmla="*/ 5734067 w 5734067"/>
              <a:gd name="connsiteY1" fmla="*/ 9626 h 6853029"/>
              <a:gd name="connsiteX2" fmla="*/ 3454153 w 5734067"/>
              <a:gd name="connsiteY2" fmla="*/ 6853029 h 6853029"/>
              <a:gd name="connsiteX3" fmla="*/ 9625 w 5734067"/>
              <a:gd name="connsiteY3" fmla="*/ 6851425 h 6853029"/>
              <a:gd name="connsiteX4" fmla="*/ 0 w 5734067"/>
              <a:gd name="connsiteY4" fmla="*/ 0 h 6853029"/>
              <a:gd name="connsiteX0" fmla="*/ 0 w 6099827"/>
              <a:gd name="connsiteY0" fmla="*/ 0 h 6853029"/>
              <a:gd name="connsiteX1" fmla="*/ 6099827 w 6099827"/>
              <a:gd name="connsiteY1" fmla="*/ 9626 h 6853029"/>
              <a:gd name="connsiteX2" fmla="*/ 3819913 w 6099827"/>
              <a:gd name="connsiteY2" fmla="*/ 6853029 h 6853029"/>
              <a:gd name="connsiteX3" fmla="*/ 375385 w 6099827"/>
              <a:gd name="connsiteY3" fmla="*/ 6851425 h 6853029"/>
              <a:gd name="connsiteX4" fmla="*/ 0 w 6099827"/>
              <a:gd name="connsiteY4" fmla="*/ 0 h 6853029"/>
              <a:gd name="connsiteX0" fmla="*/ 0 w 6099827"/>
              <a:gd name="connsiteY0" fmla="*/ 0 h 6853029"/>
              <a:gd name="connsiteX1" fmla="*/ 6099827 w 6099827"/>
              <a:gd name="connsiteY1" fmla="*/ 9626 h 6853029"/>
              <a:gd name="connsiteX2" fmla="*/ 3819913 w 6099827"/>
              <a:gd name="connsiteY2" fmla="*/ 6853029 h 6853029"/>
              <a:gd name="connsiteX3" fmla="*/ 9625 w 6099827"/>
              <a:gd name="connsiteY3" fmla="*/ 6841799 h 6853029"/>
              <a:gd name="connsiteX4" fmla="*/ 0 w 6099827"/>
              <a:gd name="connsiteY4" fmla="*/ 0 h 6853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827" h="6853029">
                <a:moveTo>
                  <a:pt x="0" y="0"/>
                </a:moveTo>
                <a:lnTo>
                  <a:pt x="6099827" y="9626"/>
                </a:lnTo>
                <a:lnTo>
                  <a:pt x="3819913" y="6853029"/>
                </a:lnTo>
                <a:lnTo>
                  <a:pt x="9625" y="6841799"/>
                </a:lnTo>
                <a:cubicBezTo>
                  <a:pt x="6417" y="4557991"/>
                  <a:pt x="3208" y="2283808"/>
                  <a:pt x="0" y="0"/>
                </a:cubicBezTo>
                <a:close/>
              </a:path>
            </a:pathLst>
          </a:cu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Title 1">
            <a:extLst>
              <a:ext uri="{FF2B5EF4-FFF2-40B4-BE49-F238E27FC236}">
                <a16:creationId xmlns:a16="http://schemas.microsoft.com/office/drawing/2014/main" id="{4293B211-4F44-43C2-85CD-47FB1192E34A}"/>
              </a:ext>
            </a:extLst>
          </p:cNvPr>
          <p:cNvSpPr>
            <a:spLocks noGrp="1"/>
          </p:cNvSpPr>
          <p:nvPr>
            <p:ph type="title" hasCustomPrompt="1"/>
          </p:nvPr>
        </p:nvSpPr>
        <p:spPr>
          <a:xfrm>
            <a:off x="539750" y="399362"/>
            <a:ext cx="4685036" cy="1139825"/>
          </a:xfrm>
        </p:spPr>
        <p:txBody>
          <a:bodyPr/>
          <a:lstStyle>
            <a:lvl1pPr>
              <a:defRPr>
                <a:solidFill>
                  <a:schemeClr val="bg2"/>
                </a:solidFill>
              </a:defRPr>
            </a:lvl1pPr>
          </a:lstStyle>
          <a:p>
            <a:r>
              <a:rPr lang="en-US" dirty="0"/>
              <a:t>Transparence for full picture background</a:t>
            </a:r>
            <a:endParaRPr lang="sv-SE" dirty="0"/>
          </a:p>
        </p:txBody>
      </p:sp>
      <p:sp>
        <p:nvSpPr>
          <p:cNvPr id="18" name="Text Placeholder 6">
            <a:extLst>
              <a:ext uri="{FF2B5EF4-FFF2-40B4-BE49-F238E27FC236}">
                <a16:creationId xmlns:a16="http://schemas.microsoft.com/office/drawing/2014/main" id="{322C7983-B6E2-4875-92FC-21607D76CEA7}"/>
              </a:ext>
            </a:extLst>
          </p:cNvPr>
          <p:cNvSpPr>
            <a:spLocks noGrp="1"/>
          </p:cNvSpPr>
          <p:nvPr>
            <p:ph type="body" sz="quarter" idx="13"/>
          </p:nvPr>
        </p:nvSpPr>
        <p:spPr>
          <a:xfrm>
            <a:off x="540271" y="1623499"/>
            <a:ext cx="4248472" cy="3096344"/>
          </a:xfrm>
        </p:spPr>
        <p:txBody>
          <a:bodyPr/>
          <a:lstStyle>
            <a:lvl1pPr>
              <a:defRPr>
                <a:solidFill>
                  <a:schemeClr val="bg2"/>
                </a:solidFill>
              </a:defRPr>
            </a:lvl1pPr>
            <a:lvl2pPr marL="174625" indent="-174625">
              <a:defRPr b="0">
                <a:solidFill>
                  <a:schemeClr val="bg2"/>
                </a:solidFill>
              </a:defRPr>
            </a:lvl2pPr>
            <a:lvl3pPr marL="446088" indent="-182563">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a:extLst>
              <a:ext uri="{FF2B5EF4-FFF2-40B4-BE49-F238E27FC236}">
                <a16:creationId xmlns:a16="http://schemas.microsoft.com/office/drawing/2014/main" id="{8793E735-61BB-4E89-AE53-0D73BFF020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4155" y="5904252"/>
            <a:ext cx="885348" cy="540353"/>
          </a:xfrm>
          <a:prstGeom prst="rect">
            <a:avLst/>
          </a:prstGeom>
        </p:spPr>
      </p:pic>
      <p:sp>
        <p:nvSpPr>
          <p:cNvPr id="14" name="Slide Number Placeholder 5">
            <a:extLst>
              <a:ext uri="{FF2B5EF4-FFF2-40B4-BE49-F238E27FC236}">
                <a16:creationId xmlns:a16="http://schemas.microsoft.com/office/drawing/2014/main" id="{5195999A-453B-4589-BDE4-5E44A837CB34}"/>
              </a:ext>
            </a:extLst>
          </p:cNvPr>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rtl="0" fontAlgn="base">
              <a:spcBef>
                <a:spcPct val="0"/>
              </a:spcBef>
              <a:spcAft>
                <a:spcPct val="0"/>
              </a:spcAft>
              <a:defRPr lang="en-GB" sz="1000" kern="1200" smtClean="0">
                <a:solidFill>
                  <a:schemeClr val="bg1"/>
                </a:solidFill>
                <a:latin typeface="Arial" pitchFamily="34" charset="0"/>
                <a:ea typeface="+mn-ea"/>
                <a:cs typeface="Arial" pitchFamily="34" charset="0"/>
              </a:defRPr>
            </a:lvl1pPr>
          </a:lstStyle>
          <a:p>
            <a:fld id="{C864BB8D-94B4-466C-94BF-D114C83BF951}" type="slidenum">
              <a:rPr lang="sv-SE" smtClean="0"/>
              <a:pPr/>
              <a:t>‹#›</a:t>
            </a:fld>
            <a:endParaRPr lang="sv-SE" dirty="0"/>
          </a:p>
        </p:txBody>
      </p:sp>
      <p:sp>
        <p:nvSpPr>
          <p:cNvPr id="15" name="Footer Placeholder 3">
            <a:extLst>
              <a:ext uri="{FF2B5EF4-FFF2-40B4-BE49-F238E27FC236}">
                <a16:creationId xmlns:a16="http://schemas.microsoft.com/office/drawing/2014/main" id="{E80D1143-1255-4380-B644-73BF4291E6EB}"/>
              </a:ext>
            </a:extLst>
          </p:cNvPr>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126910079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ramed picture + coloured slide">
    <p:bg>
      <p:bgPr>
        <a:solidFill>
          <a:schemeClr val="tx2"/>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1"/>
          </p:nvPr>
        </p:nvSpPr>
        <p:spPr>
          <a:xfrm>
            <a:off x="0" y="0"/>
            <a:ext cx="5580063" cy="6843403"/>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 name="connsiteX0" fmla="*/ 0 w 5580063"/>
              <a:gd name="connsiteY0" fmla="*/ 0 h 6840538"/>
              <a:gd name="connsiteX1" fmla="*/ 5580063 w 5580063"/>
              <a:gd name="connsiteY1" fmla="*/ 0 h 6840538"/>
              <a:gd name="connsiteX2" fmla="*/ 3146247 w 5580063"/>
              <a:gd name="connsiteY2" fmla="*/ 5704413 h 6840538"/>
              <a:gd name="connsiteX3" fmla="*/ 0 w 5580063"/>
              <a:gd name="connsiteY3" fmla="*/ 6840538 h 6840538"/>
              <a:gd name="connsiteX4" fmla="*/ 0 w 5580063"/>
              <a:gd name="connsiteY4" fmla="*/ 0 h 6840538"/>
              <a:gd name="connsiteX0" fmla="*/ 0 w 5580063"/>
              <a:gd name="connsiteY0" fmla="*/ 0 h 6222917"/>
              <a:gd name="connsiteX1" fmla="*/ 5580063 w 5580063"/>
              <a:gd name="connsiteY1" fmla="*/ 0 h 6222917"/>
              <a:gd name="connsiteX2" fmla="*/ 3146247 w 5580063"/>
              <a:gd name="connsiteY2" fmla="*/ 5704413 h 6222917"/>
              <a:gd name="connsiteX3" fmla="*/ 272716 w 5580063"/>
              <a:gd name="connsiteY3" fmla="*/ 6222917 h 6222917"/>
              <a:gd name="connsiteX4" fmla="*/ 0 w 5580063"/>
              <a:gd name="connsiteY4" fmla="*/ 0 h 6222917"/>
              <a:gd name="connsiteX0" fmla="*/ 0 w 5580063"/>
              <a:gd name="connsiteY0" fmla="*/ 0 h 6840538"/>
              <a:gd name="connsiteX1" fmla="*/ 5580063 w 5580063"/>
              <a:gd name="connsiteY1" fmla="*/ 0 h 6840538"/>
              <a:gd name="connsiteX2" fmla="*/ 3146247 w 5580063"/>
              <a:gd name="connsiteY2" fmla="*/ 5704413 h 6840538"/>
              <a:gd name="connsiteX3" fmla="*/ 0 w 5580063"/>
              <a:gd name="connsiteY3" fmla="*/ 6840538 h 6840538"/>
              <a:gd name="connsiteX4" fmla="*/ 0 w 5580063"/>
              <a:gd name="connsiteY4" fmla="*/ 0 h 6840538"/>
              <a:gd name="connsiteX0" fmla="*/ 0 w 5580063"/>
              <a:gd name="connsiteY0" fmla="*/ 0 h 6843403"/>
              <a:gd name="connsiteX1" fmla="*/ 5580063 w 5580063"/>
              <a:gd name="connsiteY1" fmla="*/ 0 h 6843403"/>
              <a:gd name="connsiteX2" fmla="*/ 3290625 w 5580063"/>
              <a:gd name="connsiteY2" fmla="*/ 6843403 h 6843403"/>
              <a:gd name="connsiteX3" fmla="*/ 0 w 5580063"/>
              <a:gd name="connsiteY3" fmla="*/ 6840538 h 6843403"/>
              <a:gd name="connsiteX4" fmla="*/ 0 w 5580063"/>
              <a:gd name="connsiteY4" fmla="*/ 0 h 6843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43403">
                <a:moveTo>
                  <a:pt x="0" y="0"/>
                </a:moveTo>
                <a:lnTo>
                  <a:pt x="5580063" y="0"/>
                </a:lnTo>
                <a:lnTo>
                  <a:pt x="3290625" y="6843403"/>
                </a:lnTo>
                <a:lnTo>
                  <a:pt x="0" y="6840538"/>
                </a:lnTo>
                <a:lnTo>
                  <a:pt x="0" y="0"/>
                </a:lnTo>
                <a:close/>
              </a:path>
            </a:pathLst>
          </a:custGeom>
        </p:spPr>
        <p:txBody>
          <a:bodyPr/>
          <a:lstStyle>
            <a:lvl1pPr>
              <a:defRPr>
                <a:solidFill>
                  <a:schemeClr val="bg1"/>
                </a:solidFill>
              </a:defRPr>
            </a:lvl1pPr>
          </a:lstStyle>
          <a:p>
            <a:endParaRPr lang="en-GB"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10" name="Title 1">
            <a:extLst>
              <a:ext uri="{FF2B5EF4-FFF2-40B4-BE49-F238E27FC236}">
                <a16:creationId xmlns:a16="http://schemas.microsoft.com/office/drawing/2014/main" id="{6C13A741-605A-4BC1-B12F-6B4884693E96}"/>
              </a:ext>
            </a:extLst>
          </p:cNvPr>
          <p:cNvSpPr>
            <a:spLocks noGrp="1"/>
          </p:cNvSpPr>
          <p:nvPr>
            <p:ph type="title"/>
          </p:nvPr>
        </p:nvSpPr>
        <p:spPr>
          <a:xfrm>
            <a:off x="5795068" y="398125"/>
            <a:ext cx="5832362" cy="1139825"/>
          </a:xfrm>
        </p:spPr>
        <p:txBody>
          <a:bodyPr/>
          <a:lstStyle>
            <a:lvl1pPr>
              <a:defRPr>
                <a:solidFill>
                  <a:schemeClr val="bg2"/>
                </a:solidFill>
              </a:defRPr>
            </a:lvl1pPr>
          </a:lstStyle>
          <a:p>
            <a:r>
              <a:rPr lang="en-US" dirty="0"/>
              <a:t>Click to edit Master title style</a:t>
            </a:r>
            <a:endParaRPr lang="sv-SE" dirty="0"/>
          </a:p>
        </p:txBody>
      </p:sp>
      <p:sp>
        <p:nvSpPr>
          <p:cNvPr id="11" name="Text Placeholder 6">
            <a:extLst>
              <a:ext uri="{FF2B5EF4-FFF2-40B4-BE49-F238E27FC236}">
                <a16:creationId xmlns:a16="http://schemas.microsoft.com/office/drawing/2014/main" id="{37B0033A-ADF4-48AE-89CB-79A6BEA12A9E}"/>
              </a:ext>
            </a:extLst>
          </p:cNvPr>
          <p:cNvSpPr>
            <a:spLocks noGrp="1"/>
          </p:cNvSpPr>
          <p:nvPr>
            <p:ph type="body" sz="quarter" idx="13"/>
          </p:nvPr>
        </p:nvSpPr>
        <p:spPr>
          <a:xfrm>
            <a:off x="5796855" y="1622262"/>
            <a:ext cx="5833170" cy="3096344"/>
          </a:xfrm>
        </p:spPr>
        <p:txBody>
          <a:bodyPr/>
          <a:lstStyle>
            <a:lvl1pPr>
              <a:defRPr>
                <a:solidFill>
                  <a:schemeClr val="bg2"/>
                </a:solidFill>
              </a:defRPr>
            </a:lvl1pPr>
            <a:lvl2pPr marL="174625" indent="-174625">
              <a:defRPr b="0">
                <a:solidFill>
                  <a:schemeClr val="bg2"/>
                </a:solidFill>
              </a:defRPr>
            </a:lvl2pPr>
            <a:lvl3pPr marL="446088" indent="-182563">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a:extLst>
              <a:ext uri="{FF2B5EF4-FFF2-40B4-BE49-F238E27FC236}">
                <a16:creationId xmlns:a16="http://schemas.microsoft.com/office/drawing/2014/main" id="{433DB39A-143B-4E21-B66E-C747B1944757}"/>
              </a:ext>
            </a:extLst>
          </p:cNvPr>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rtl="0" fontAlgn="base">
              <a:spcBef>
                <a:spcPct val="0"/>
              </a:spcBef>
              <a:spcAft>
                <a:spcPct val="0"/>
              </a:spcAft>
              <a:defRPr lang="en-GB" sz="1000" kern="1200" smtClean="0">
                <a:solidFill>
                  <a:schemeClr val="bg1"/>
                </a:solidFill>
                <a:latin typeface="Arial" pitchFamily="34" charset="0"/>
                <a:ea typeface="+mn-ea"/>
                <a:cs typeface="Arial" pitchFamily="34" charset="0"/>
              </a:defRPr>
            </a:lvl1pPr>
          </a:lstStyle>
          <a:p>
            <a:fld id="{C864BB8D-94B4-466C-94BF-D114C83BF951}" type="slidenum">
              <a:rPr lang="sv-SE" smtClean="0"/>
              <a:pPr/>
              <a:t>‹#›</a:t>
            </a:fld>
            <a:endParaRPr lang="sv-SE" dirty="0"/>
          </a:p>
        </p:txBody>
      </p:sp>
      <p:sp>
        <p:nvSpPr>
          <p:cNvPr id="13" name="Footer Placeholder 3">
            <a:extLst>
              <a:ext uri="{FF2B5EF4-FFF2-40B4-BE49-F238E27FC236}">
                <a16:creationId xmlns:a16="http://schemas.microsoft.com/office/drawing/2014/main" id="{904E8A03-9A22-485E-9E85-B8CB75F063B3}"/>
              </a:ext>
            </a:extLst>
          </p:cNvPr>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14026605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loured 5th element and background picture">
    <p:bg>
      <p:bgPr>
        <a:solidFill>
          <a:schemeClr val="tx2"/>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8"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
        <p:nvSpPr>
          <p:cNvPr id="14" name="Title 1">
            <a:extLst>
              <a:ext uri="{FF2B5EF4-FFF2-40B4-BE49-F238E27FC236}">
                <a16:creationId xmlns:a16="http://schemas.microsoft.com/office/drawing/2014/main" id="{F9D28480-8A73-4A7B-BE33-1AA00B1CB4C4}"/>
              </a:ext>
            </a:extLst>
          </p:cNvPr>
          <p:cNvSpPr>
            <a:spLocks noGrp="1"/>
          </p:cNvSpPr>
          <p:nvPr>
            <p:ph type="title"/>
          </p:nvPr>
        </p:nvSpPr>
        <p:spPr>
          <a:xfrm>
            <a:off x="539750" y="408236"/>
            <a:ext cx="11088139" cy="1139825"/>
          </a:xfrm>
        </p:spPr>
        <p:txBody>
          <a:bodyPr/>
          <a:lstStyle>
            <a:lvl1pPr>
              <a:defRPr>
                <a:solidFill>
                  <a:schemeClr val="bg2"/>
                </a:solidFill>
              </a:defRPr>
            </a:lvl1pPr>
          </a:lstStyle>
          <a:p>
            <a:r>
              <a:rPr lang="en-US" dirty="0"/>
              <a:t>Click to edit Master title style</a:t>
            </a:r>
            <a:endParaRPr lang="en-GB" dirty="0"/>
          </a:p>
        </p:txBody>
      </p:sp>
      <p:sp>
        <p:nvSpPr>
          <p:cNvPr id="15" name="Content Placeholder 6">
            <a:extLst>
              <a:ext uri="{FF2B5EF4-FFF2-40B4-BE49-F238E27FC236}">
                <a16:creationId xmlns:a16="http://schemas.microsoft.com/office/drawing/2014/main" id="{30F84E91-07F7-4E80-8B8A-BDB4D1836A38}"/>
              </a:ext>
            </a:extLst>
          </p:cNvPr>
          <p:cNvSpPr>
            <a:spLocks noGrp="1"/>
          </p:cNvSpPr>
          <p:nvPr>
            <p:ph sz="quarter" idx="11"/>
          </p:nvPr>
        </p:nvSpPr>
        <p:spPr>
          <a:xfrm>
            <a:off x="539749" y="1620837"/>
            <a:ext cx="5400000" cy="4031679"/>
          </a:xfrm>
        </p:spPr>
        <p:txBody>
          <a:bodyPr/>
          <a:lstStyle>
            <a:lvl1pPr>
              <a:defRPr>
                <a:solidFill>
                  <a:schemeClr val="bg2"/>
                </a:solidFill>
              </a:defRPr>
            </a:lvl1pPr>
            <a:lvl2pPr>
              <a:defRPr b="0">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8">
            <a:extLst>
              <a:ext uri="{FF2B5EF4-FFF2-40B4-BE49-F238E27FC236}">
                <a16:creationId xmlns:a16="http://schemas.microsoft.com/office/drawing/2014/main" id="{9DEA0AA1-1828-4089-9D9F-0A47023BCBC9}"/>
              </a:ext>
            </a:extLst>
          </p:cNvPr>
          <p:cNvSpPr>
            <a:spLocks noGrp="1"/>
          </p:cNvSpPr>
          <p:nvPr>
            <p:ph sz="quarter" idx="13"/>
          </p:nvPr>
        </p:nvSpPr>
        <p:spPr>
          <a:xfrm>
            <a:off x="6228903" y="1620838"/>
            <a:ext cx="5398986" cy="4031474"/>
          </a:xfrm>
        </p:spPr>
        <p:txBody>
          <a:bodyPr/>
          <a:lstStyle>
            <a:lvl1pPr>
              <a:defRPr>
                <a:solidFill>
                  <a:schemeClr val="bg2"/>
                </a:solidFill>
              </a:defRPr>
            </a:lvl1pPr>
            <a:lvl2pPr>
              <a:defRPr b="0">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267966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ank you  Layou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1992412"/>
            <a:ext cx="11088139" cy="2291953"/>
          </a:xfrm>
        </p:spPr>
        <p:txBody>
          <a:bodyPr anchor="ctr" anchorCtr="1">
            <a:noAutofit/>
          </a:bodyPr>
          <a:lstStyle>
            <a:lvl1pPr algn="ctr">
              <a:defRPr sz="6000" b="0">
                <a:solidFill>
                  <a:schemeClr val="bg2"/>
                </a:solidFill>
              </a:defRPr>
            </a:lvl1pPr>
          </a:lstStyle>
          <a:p>
            <a:r>
              <a:rPr lang="en-US" dirty="0"/>
              <a:t>Thank you!</a:t>
            </a:r>
            <a:endParaRPr lang="en-GB" dirty="0"/>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pic>
        <p:nvPicPr>
          <p:cNvPr id="4" name="Picture 3">
            <a:extLst>
              <a:ext uri="{FF2B5EF4-FFF2-40B4-BE49-F238E27FC236}">
                <a16:creationId xmlns:a16="http://schemas.microsoft.com/office/drawing/2014/main" id="{87CC4B59-4AB1-4B5D-A44B-937E104B0F0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3432" y="5518857"/>
            <a:ext cx="6446533" cy="557785"/>
          </a:xfrm>
          <a:prstGeom prst="rect">
            <a:avLst/>
          </a:prstGeom>
        </p:spPr>
      </p:pic>
    </p:spTree>
    <p:extLst>
      <p:ext uri="{BB962C8B-B14F-4D97-AF65-F5344CB8AC3E}">
        <p14:creationId xmlns:p14="http://schemas.microsoft.com/office/powerpoint/2010/main" val="72003649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hapter page">
    <p:bg>
      <p:bgPr>
        <a:solidFill>
          <a:schemeClr val="tx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4488D4-CD72-4342-818C-A7B16A1ED3CC}"/>
              </a:ext>
            </a:extLst>
          </p:cNvPr>
          <p:cNvGrpSpPr/>
          <p:nvPr userDrawn="1"/>
        </p:nvGrpSpPr>
        <p:grpSpPr>
          <a:xfrm>
            <a:off x="1150205" y="1940353"/>
            <a:ext cx="9869364" cy="2570196"/>
            <a:chOff x="1150205" y="1940353"/>
            <a:chExt cx="9869364" cy="2570196"/>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50106" y="1940353"/>
              <a:ext cx="2469563" cy="1512169"/>
            </a:xfrm>
            <a:prstGeom prst="rect">
              <a:avLst/>
            </a:prstGeom>
          </p:spPr>
        </p:pic>
        <p:sp>
          <p:nvSpPr>
            <p:cNvPr id="8" name="Title 1">
              <a:extLst>
                <a:ext uri="{FF2B5EF4-FFF2-40B4-BE49-F238E27FC236}">
                  <a16:creationId xmlns:a16="http://schemas.microsoft.com/office/drawing/2014/main" id="{03FCC5F1-E6C4-4992-A8CA-064E596743BA}"/>
                </a:ext>
              </a:extLst>
            </p:cNvPr>
            <p:cNvSpPr txBox="1">
              <a:spLocks/>
            </p:cNvSpPr>
            <p:nvPr userDrawn="1"/>
          </p:nvSpPr>
          <p:spPr>
            <a:xfrm>
              <a:off x="1150205" y="3574445"/>
              <a:ext cx="9869364" cy="936104"/>
            </a:xfrm>
            <a:prstGeom prst="rect">
              <a:avLst/>
            </a:prstGeom>
          </p:spPr>
          <p:txBody>
            <a:bodyPr vert="horz" lIns="91440" tIns="45720" rIns="91440" bIns="45720" rtlCol="0" anchor="t">
              <a:noAutofit/>
            </a:bodyPr>
            <a:lstStyle>
              <a:lvl1pPr algn="ctr" defTabSz="914400" rtl="0" eaLnBrk="1" latinLnBrk="0" hangingPunct="1">
                <a:spcBef>
                  <a:spcPct val="0"/>
                </a:spcBef>
                <a:buNone/>
                <a:defRPr sz="5400" kern="1200" spc="-130" baseline="0">
                  <a:solidFill>
                    <a:schemeClr val="bg2"/>
                  </a:solidFill>
                  <a:latin typeface="Arial" pitchFamily="34" charset="0"/>
                  <a:ea typeface="+mj-ea"/>
                  <a:cs typeface="Arial" pitchFamily="34" charset="0"/>
                </a:defRPr>
              </a:lvl1pPr>
            </a:lstStyle>
            <a:p>
              <a:pPr fontAlgn="auto">
                <a:spcAft>
                  <a:spcPts val="0"/>
                </a:spcAft>
              </a:pPr>
              <a:r>
                <a:rPr lang="en-US" sz="4400" dirty="0">
                  <a:solidFill>
                    <a:schemeClr val="accent2"/>
                  </a:solidFill>
                </a:rPr>
                <a:t>The better </a:t>
              </a:r>
              <a:r>
                <a:rPr lang="en-US" sz="4400" dirty="0"/>
                <a:t>shopping experience</a:t>
              </a:r>
              <a:endParaRPr lang="en-GB" sz="4400" dirty="0"/>
            </a:p>
          </p:txBody>
        </p:sp>
      </p:grpSp>
    </p:spTree>
    <p:extLst>
      <p:ext uri="{BB962C8B-B14F-4D97-AF65-F5344CB8AC3E}">
        <p14:creationId xmlns:p14="http://schemas.microsoft.com/office/powerpoint/2010/main" val="108363714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Chapter page">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571ECAF-F4EB-4754-ABB7-776B0AAB29B8}"/>
              </a:ext>
            </a:extLst>
          </p:cNvPr>
          <p:cNvGrpSpPr/>
          <p:nvPr userDrawn="1"/>
        </p:nvGrpSpPr>
        <p:grpSpPr>
          <a:xfrm>
            <a:off x="790165" y="1943897"/>
            <a:ext cx="10589444" cy="2628500"/>
            <a:chOff x="790165" y="1943897"/>
            <a:chExt cx="10589444" cy="2628500"/>
          </a:xfrm>
        </p:grpSpPr>
        <p:pic>
          <p:nvPicPr>
            <p:cNvPr id="4" name="Picture 3">
              <a:extLst>
                <a:ext uri="{FF2B5EF4-FFF2-40B4-BE49-F238E27FC236}">
                  <a16:creationId xmlns:a16="http://schemas.microsoft.com/office/drawing/2014/main" id="{4DB854F6-348C-4276-9E6E-C646FC6F5B1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35058" y="1943897"/>
              <a:ext cx="2499659" cy="1528060"/>
            </a:xfrm>
            <a:prstGeom prst="rect">
              <a:avLst/>
            </a:prstGeom>
          </p:spPr>
        </p:pic>
        <p:sp>
          <p:nvSpPr>
            <p:cNvPr id="5" name="Title 1">
              <a:extLst>
                <a:ext uri="{FF2B5EF4-FFF2-40B4-BE49-F238E27FC236}">
                  <a16:creationId xmlns:a16="http://schemas.microsoft.com/office/drawing/2014/main" id="{656804A1-34B7-43F1-9302-DB91D0E3C5E5}"/>
                </a:ext>
              </a:extLst>
            </p:cNvPr>
            <p:cNvSpPr txBox="1">
              <a:spLocks/>
            </p:cNvSpPr>
            <p:nvPr userDrawn="1"/>
          </p:nvSpPr>
          <p:spPr>
            <a:xfrm>
              <a:off x="790165" y="3576588"/>
              <a:ext cx="10589444" cy="995809"/>
            </a:xfrm>
            <a:prstGeom prst="rect">
              <a:avLst/>
            </a:prstGeom>
          </p:spPr>
          <p:txBody>
            <a:bodyPr vert="horz" lIns="91440" tIns="45720" rIns="91440" bIns="45720" rtlCol="0" anchor="t">
              <a:noAutofit/>
            </a:bodyPr>
            <a:lstStyle>
              <a:lvl1pPr algn="ctr" defTabSz="914400" rtl="0" eaLnBrk="1" latinLnBrk="0" hangingPunct="1">
                <a:spcBef>
                  <a:spcPct val="0"/>
                </a:spcBef>
                <a:buNone/>
                <a:defRPr sz="5400" kern="1200" spc="-130" baseline="0">
                  <a:solidFill>
                    <a:schemeClr val="bg2"/>
                  </a:solidFill>
                  <a:latin typeface="Arial" pitchFamily="34" charset="0"/>
                  <a:ea typeface="+mj-ea"/>
                  <a:cs typeface="Arial" pitchFamily="34" charset="0"/>
                </a:defRPr>
              </a:lvl1pPr>
            </a:lstStyle>
            <a:p>
              <a:pPr fontAlgn="auto">
                <a:spcAft>
                  <a:spcPts val="0"/>
                </a:spcAft>
              </a:pPr>
              <a:r>
                <a:rPr lang="en-US" sz="4400" dirty="0">
                  <a:solidFill>
                    <a:schemeClr val="accent2"/>
                  </a:solidFill>
                </a:rPr>
                <a:t>The better </a:t>
              </a:r>
              <a:r>
                <a:rPr lang="en-US" sz="4400" dirty="0">
                  <a:solidFill>
                    <a:schemeClr val="tx2"/>
                  </a:solidFill>
                </a:rPr>
                <a:t>shopping experience</a:t>
              </a:r>
              <a:endParaRPr lang="en-GB" sz="4400" dirty="0">
                <a:solidFill>
                  <a:schemeClr val="tx2"/>
                </a:solidFill>
              </a:endParaRPr>
            </a:p>
          </p:txBody>
        </p:sp>
      </p:grpSp>
    </p:spTree>
    <p:extLst>
      <p:ext uri="{BB962C8B-B14F-4D97-AF65-F5344CB8AC3E}">
        <p14:creationId xmlns:p14="http://schemas.microsoft.com/office/powerpoint/2010/main" val="421275278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ull color for 5th element and white bacground">
    <p:spTree>
      <p:nvGrpSpPr>
        <p:cNvPr id="1" name=""/>
        <p:cNvGrpSpPr/>
        <p:nvPr/>
      </p:nvGrpSpPr>
      <p:grpSpPr>
        <a:xfrm>
          <a:off x="0" y="0"/>
          <a:ext cx="0" cy="0"/>
          <a:chOff x="0" y="0"/>
          <a:chExt cx="0" cy="0"/>
        </a:xfrm>
      </p:grpSpPr>
      <p:sp>
        <p:nvSpPr>
          <p:cNvPr id="5" name="Freeform 4"/>
          <p:cNvSpPr/>
          <p:nvPr userDrawn="1"/>
        </p:nvSpPr>
        <p:spPr>
          <a:xfrm>
            <a:off x="-28576" y="1146412"/>
            <a:ext cx="7806519" cy="3712191"/>
          </a:xfrm>
          <a:custGeom>
            <a:avLst/>
            <a:gdLst>
              <a:gd name="connsiteX0" fmla="*/ 0 w 7806519"/>
              <a:gd name="connsiteY0" fmla="*/ 0 h 3712191"/>
              <a:gd name="connsiteX1" fmla="*/ 7806519 w 7806519"/>
              <a:gd name="connsiteY1" fmla="*/ 0 h 3712191"/>
              <a:gd name="connsiteX2" fmla="*/ 6564573 w 7806519"/>
              <a:gd name="connsiteY2" fmla="*/ 3712191 h 3712191"/>
              <a:gd name="connsiteX3" fmla="*/ 13648 w 7806519"/>
              <a:gd name="connsiteY3" fmla="*/ 3712191 h 3712191"/>
              <a:gd name="connsiteX4" fmla="*/ 0 w 7806519"/>
              <a:gd name="connsiteY4" fmla="*/ 0 h 3712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6519" h="3712191">
                <a:moveTo>
                  <a:pt x="0" y="0"/>
                </a:moveTo>
                <a:lnTo>
                  <a:pt x="7806519" y="0"/>
                </a:lnTo>
                <a:lnTo>
                  <a:pt x="6564573" y="3712191"/>
                </a:lnTo>
                <a:lnTo>
                  <a:pt x="13648" y="3712191"/>
                </a:lnTo>
                <a:cubicBezTo>
                  <a:pt x="9099" y="2474794"/>
                  <a:pt x="4549" y="1237397"/>
                  <a:pt x="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972000" y="2772365"/>
            <a:ext cx="5616000" cy="1512000"/>
          </a:xfrm>
          <a:prstGeom prst="rect">
            <a:avLst/>
          </a:prstGeom>
        </p:spPr>
        <p:txBody>
          <a:bodyPr>
            <a:noAutofit/>
          </a:bodyPr>
          <a:lstStyle/>
          <a:p>
            <a:r>
              <a:rPr lang="en-US"/>
              <a:t>Click to edit Master title style</a:t>
            </a:r>
            <a:endParaRPr lang="en-GB" dirty="0"/>
          </a:p>
        </p:txBody>
      </p:sp>
      <p:sp>
        <p:nvSpPr>
          <p:cNvPr id="3" name="Subtitle 2"/>
          <p:cNvSpPr>
            <a:spLocks noGrp="1"/>
          </p:cNvSpPr>
          <p:nvPr>
            <p:ph type="subTitle" idx="1" hasCustomPrompt="1"/>
          </p:nvPr>
        </p:nvSpPr>
        <p:spPr>
          <a:xfrm>
            <a:off x="972000" y="4305600"/>
            <a:ext cx="5616000" cy="410400"/>
          </a:xfrm>
          <a:prstGeom prst="rect">
            <a:avLst/>
          </a:prstGeom>
        </p:spPr>
        <p:txBody>
          <a:bodyPr>
            <a:noAutofit/>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1430" y="1764084"/>
            <a:ext cx="1469814" cy="900000"/>
          </a:xfrm>
          <a:prstGeom prst="rect">
            <a:avLst/>
          </a:prstGeom>
        </p:spPr>
      </p:pic>
      <p:sp>
        <p:nvSpPr>
          <p:cNvPr id="9" name="Slide Number Placeholder 5"/>
          <p:cNvSpPr>
            <a:spLocks noGrp="1"/>
          </p:cNvSpPr>
          <p:nvPr>
            <p:ph type="sldNum" sz="quarter" idx="12"/>
          </p:nvPr>
        </p:nvSpPr>
        <p:spPr>
          <a:xfrm>
            <a:off x="468263" y="6369099"/>
            <a:ext cx="504056" cy="363538"/>
          </a:xfrm>
        </p:spPr>
        <p:txBody>
          <a:bodyPr/>
          <a:lstStyle>
            <a:lvl1pPr>
              <a:defRPr>
                <a:solidFill>
                  <a:schemeClr val="bg1"/>
                </a:solidFill>
              </a:defRPr>
            </a:lvl1pPr>
          </a:lstStyle>
          <a:p>
            <a:fld id="{C864BB8D-94B4-466C-94BF-D114C83BF951}" type="slidenum">
              <a:rPr lang="en-GB" smtClean="0"/>
              <a:pPr/>
              <a:t>‹#›</a:t>
            </a:fld>
            <a:endParaRPr lang="en-GB" dirty="0"/>
          </a:p>
        </p:txBody>
      </p:sp>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7 – All rights reserved</a:t>
            </a:r>
            <a:endParaRPr lang="fr-FR" dirty="0"/>
          </a:p>
        </p:txBody>
      </p:sp>
    </p:spTree>
    <p:extLst>
      <p:ext uri="{BB962C8B-B14F-4D97-AF65-F5344CB8AC3E}">
        <p14:creationId xmlns:p14="http://schemas.microsoft.com/office/powerpoint/2010/main" val="13077338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oured 5th element and background picture">
    <p:bg>
      <p:bgPr>
        <a:solidFill>
          <a:schemeClr val="tx2"/>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p>
            <a:endParaRPr lang="en-GB" dirty="0"/>
          </a:p>
        </p:txBody>
      </p:sp>
      <p:sp>
        <p:nvSpPr>
          <p:cNvPr id="2" name="Title 1"/>
          <p:cNvSpPr>
            <a:spLocks noGrp="1"/>
          </p:cNvSpPr>
          <p:nvPr>
            <p:ph type="title"/>
          </p:nvPr>
        </p:nvSpPr>
        <p:spPr>
          <a:xfrm>
            <a:off x="8206989" y="2484165"/>
            <a:ext cx="3566530" cy="2940025"/>
          </a:xfrm>
        </p:spPr>
        <p:txBody>
          <a:bodyPr>
            <a:noAutofit/>
          </a:bodyPr>
          <a:lstStyle>
            <a:lvl1pPr algn="r">
              <a:defRPr sz="4000">
                <a:solidFill>
                  <a:schemeClr val="bg2"/>
                </a:solidFill>
              </a:defRPr>
            </a:lvl1pPr>
          </a:lstStyle>
          <a:p>
            <a:r>
              <a:rPr lang="en-US" dirty="0"/>
              <a:t>Click to edit Master title style</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4" name="Text Placeholder 3"/>
          <p:cNvSpPr>
            <a:spLocks noGrp="1"/>
          </p:cNvSpPr>
          <p:nvPr>
            <p:ph type="body" sz="quarter" idx="13"/>
          </p:nvPr>
        </p:nvSpPr>
        <p:spPr>
          <a:xfrm>
            <a:off x="467742" y="467941"/>
            <a:ext cx="2880841" cy="4608512"/>
          </a:xfrm>
        </p:spPr>
        <p:txBody>
          <a:bodyPr/>
          <a:lstStyle>
            <a:lvl1pPr>
              <a:defRPr sz="4000">
                <a:solidFill>
                  <a:schemeClr val="bg2"/>
                </a:solidFill>
              </a:defRPr>
            </a:lvl1pPr>
          </a:lstStyle>
          <a:p>
            <a:pPr lvl="0"/>
            <a:r>
              <a:rPr lang="en-US" dirty="0"/>
              <a:t>Edit Master text styles</a:t>
            </a:r>
          </a:p>
        </p:txBody>
      </p:sp>
      <p:sp>
        <p:nvSpPr>
          <p:cNvPr id="8"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7 – All rights reserved</a:t>
            </a:r>
            <a:endParaRPr lang="fr-FR" dirty="0"/>
          </a:p>
        </p:txBody>
      </p:sp>
    </p:spTree>
    <p:extLst>
      <p:ext uri="{BB962C8B-B14F-4D97-AF65-F5344CB8AC3E}">
        <p14:creationId xmlns:p14="http://schemas.microsoft.com/office/powerpoint/2010/main" val="247671306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ransparent colour for picture background">
    <p:spTree>
      <p:nvGrpSpPr>
        <p:cNvPr id="1" name=""/>
        <p:cNvGrpSpPr/>
        <p:nvPr/>
      </p:nvGrpSpPr>
      <p:grpSpPr>
        <a:xfrm>
          <a:off x="0" y="0"/>
          <a:ext cx="0" cy="0"/>
          <a:chOff x="0" y="0"/>
          <a:chExt cx="0" cy="0"/>
        </a:xfrm>
      </p:grpSpPr>
      <p:sp>
        <p:nvSpPr>
          <p:cNvPr id="5" name="Freeform 4"/>
          <p:cNvSpPr/>
          <p:nvPr userDrawn="1"/>
        </p:nvSpPr>
        <p:spPr>
          <a:xfrm>
            <a:off x="-28576" y="1146412"/>
            <a:ext cx="7806519" cy="3712191"/>
          </a:xfrm>
          <a:custGeom>
            <a:avLst/>
            <a:gdLst>
              <a:gd name="connsiteX0" fmla="*/ 0 w 7806519"/>
              <a:gd name="connsiteY0" fmla="*/ 0 h 3712191"/>
              <a:gd name="connsiteX1" fmla="*/ 7806519 w 7806519"/>
              <a:gd name="connsiteY1" fmla="*/ 0 h 3712191"/>
              <a:gd name="connsiteX2" fmla="*/ 6564573 w 7806519"/>
              <a:gd name="connsiteY2" fmla="*/ 3712191 h 3712191"/>
              <a:gd name="connsiteX3" fmla="*/ 13648 w 7806519"/>
              <a:gd name="connsiteY3" fmla="*/ 3712191 h 3712191"/>
              <a:gd name="connsiteX4" fmla="*/ 0 w 7806519"/>
              <a:gd name="connsiteY4" fmla="*/ 0 h 3712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6519" h="3712191">
                <a:moveTo>
                  <a:pt x="0" y="0"/>
                </a:moveTo>
                <a:lnTo>
                  <a:pt x="7806519" y="0"/>
                </a:lnTo>
                <a:lnTo>
                  <a:pt x="6564573" y="3712191"/>
                </a:lnTo>
                <a:lnTo>
                  <a:pt x="13648" y="3712191"/>
                </a:lnTo>
                <a:cubicBezTo>
                  <a:pt x="9099" y="2474794"/>
                  <a:pt x="4549" y="1237397"/>
                  <a:pt x="0" y="0"/>
                </a:cubicBezTo>
                <a:close/>
              </a:path>
            </a:pathLst>
          </a:cu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972000" y="2772000"/>
            <a:ext cx="5616000" cy="1512000"/>
          </a:xfrm>
          <a:prstGeom prst="rect">
            <a:avLst/>
          </a:prstGeom>
        </p:spPr>
        <p:txBody>
          <a:bodyPr>
            <a:noAutofit/>
          </a:bodyPr>
          <a:lstStyle/>
          <a:p>
            <a:r>
              <a:rPr lang="en-US"/>
              <a:t>Click to edit Master title style</a:t>
            </a:r>
            <a:endParaRPr lang="en-GB" dirty="0"/>
          </a:p>
        </p:txBody>
      </p:sp>
      <p:sp>
        <p:nvSpPr>
          <p:cNvPr id="3" name="Subtitle 2"/>
          <p:cNvSpPr>
            <a:spLocks noGrp="1"/>
          </p:cNvSpPr>
          <p:nvPr>
            <p:ph type="subTitle" idx="1" hasCustomPrompt="1"/>
          </p:nvPr>
        </p:nvSpPr>
        <p:spPr>
          <a:xfrm>
            <a:off x="972000" y="4305600"/>
            <a:ext cx="5616000" cy="410400"/>
          </a:xfrm>
          <a:prstGeom prst="rect">
            <a:avLst/>
          </a:prstGeom>
        </p:spPr>
        <p:txBody>
          <a:bodyPr>
            <a:noAutofit/>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1430" y="1764084"/>
            <a:ext cx="1469814" cy="900000"/>
          </a:xfrm>
          <a:prstGeom prst="rect">
            <a:avLst/>
          </a:prstGeom>
        </p:spPr>
      </p:pic>
      <p:sp>
        <p:nvSpPr>
          <p:cNvPr id="8" name="Slide Number Placeholder 5"/>
          <p:cNvSpPr>
            <a:spLocks noGrp="1"/>
          </p:cNvSpPr>
          <p:nvPr>
            <p:ph type="sldNum" sz="quarter" idx="12"/>
          </p:nvPr>
        </p:nvSpPr>
        <p:spPr>
          <a:xfrm>
            <a:off x="468263" y="6369099"/>
            <a:ext cx="504056" cy="363538"/>
          </a:xfrm>
        </p:spPr>
        <p:txBody>
          <a:bodyPr/>
          <a:lstStyle>
            <a:lvl1pPr>
              <a:defRPr>
                <a:solidFill>
                  <a:schemeClr val="bg1"/>
                </a:solidFill>
              </a:defRPr>
            </a:lvl1pPr>
          </a:lstStyle>
          <a:p>
            <a:fld id="{C864BB8D-94B4-466C-94BF-D114C83BF951}" type="slidenum">
              <a:rPr lang="en-GB" smtClean="0"/>
              <a:pPr/>
              <a:t>‹#›</a:t>
            </a:fld>
            <a:endParaRPr lang="en-GB" dirty="0"/>
          </a:p>
        </p:txBody>
      </p:sp>
      <p:sp>
        <p:nvSpPr>
          <p:cNvPr id="9"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3554934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ull color for 5th element and white bacground">
    <p:spTree>
      <p:nvGrpSpPr>
        <p:cNvPr id="1" name=""/>
        <p:cNvGrpSpPr/>
        <p:nvPr/>
      </p:nvGrpSpPr>
      <p:grpSpPr>
        <a:xfrm>
          <a:off x="0" y="0"/>
          <a:ext cx="0" cy="0"/>
          <a:chOff x="0" y="0"/>
          <a:chExt cx="0" cy="0"/>
        </a:xfrm>
      </p:grpSpPr>
      <p:sp>
        <p:nvSpPr>
          <p:cNvPr id="5" name="Freeform 4"/>
          <p:cNvSpPr/>
          <p:nvPr userDrawn="1"/>
        </p:nvSpPr>
        <p:spPr>
          <a:xfrm>
            <a:off x="-28576" y="1146412"/>
            <a:ext cx="7806519" cy="3712191"/>
          </a:xfrm>
          <a:custGeom>
            <a:avLst/>
            <a:gdLst>
              <a:gd name="connsiteX0" fmla="*/ 0 w 7806519"/>
              <a:gd name="connsiteY0" fmla="*/ 0 h 3712191"/>
              <a:gd name="connsiteX1" fmla="*/ 7806519 w 7806519"/>
              <a:gd name="connsiteY1" fmla="*/ 0 h 3712191"/>
              <a:gd name="connsiteX2" fmla="*/ 6564573 w 7806519"/>
              <a:gd name="connsiteY2" fmla="*/ 3712191 h 3712191"/>
              <a:gd name="connsiteX3" fmla="*/ 13648 w 7806519"/>
              <a:gd name="connsiteY3" fmla="*/ 3712191 h 3712191"/>
              <a:gd name="connsiteX4" fmla="*/ 0 w 7806519"/>
              <a:gd name="connsiteY4" fmla="*/ 0 h 3712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6519" h="3712191">
                <a:moveTo>
                  <a:pt x="0" y="0"/>
                </a:moveTo>
                <a:lnTo>
                  <a:pt x="7806519" y="0"/>
                </a:lnTo>
                <a:lnTo>
                  <a:pt x="6564573" y="3712191"/>
                </a:lnTo>
                <a:lnTo>
                  <a:pt x="13648" y="3712191"/>
                </a:lnTo>
                <a:cubicBezTo>
                  <a:pt x="9099" y="2474794"/>
                  <a:pt x="4549" y="1237397"/>
                  <a:pt x="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972000" y="2772365"/>
            <a:ext cx="5616000" cy="1512000"/>
          </a:xfrm>
          <a:prstGeom prst="rect">
            <a:avLst/>
          </a:prstGeom>
        </p:spPr>
        <p:txBody>
          <a:bodyPr>
            <a:noAutofit/>
          </a:bodyPr>
          <a:lstStyle/>
          <a:p>
            <a:r>
              <a:rPr lang="en-US"/>
              <a:t>Click to edit Master title style</a:t>
            </a:r>
            <a:endParaRPr lang="en-GB" dirty="0"/>
          </a:p>
        </p:txBody>
      </p:sp>
      <p:sp>
        <p:nvSpPr>
          <p:cNvPr id="3" name="Subtitle 2"/>
          <p:cNvSpPr>
            <a:spLocks noGrp="1"/>
          </p:cNvSpPr>
          <p:nvPr>
            <p:ph type="subTitle" idx="1" hasCustomPrompt="1"/>
          </p:nvPr>
        </p:nvSpPr>
        <p:spPr>
          <a:xfrm>
            <a:off x="972000" y="4305600"/>
            <a:ext cx="5616000" cy="410400"/>
          </a:xfrm>
          <a:prstGeom prst="rect">
            <a:avLst/>
          </a:prstGeom>
        </p:spPr>
        <p:txBody>
          <a:bodyPr>
            <a:noAutofit/>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1430" y="1764084"/>
            <a:ext cx="1469814" cy="900000"/>
          </a:xfrm>
          <a:prstGeom prst="rect">
            <a:avLst/>
          </a:prstGeom>
        </p:spPr>
      </p:pic>
      <p:sp>
        <p:nvSpPr>
          <p:cNvPr id="6" name="Footer Placeholder 1"/>
          <p:cNvSpPr>
            <a:spLocks noGrp="1"/>
          </p:cNvSpPr>
          <p:nvPr>
            <p:ph type="ftr" sz="quarter" idx="3"/>
          </p:nvPr>
        </p:nvSpPr>
        <p:spPr>
          <a:xfrm>
            <a:off x="1116335" y="6340475"/>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7 – All rights reserved</a:t>
            </a:r>
            <a:endParaRPr lang="fr-FR" dirty="0"/>
          </a:p>
        </p:txBody>
      </p:sp>
    </p:spTree>
    <p:extLst>
      <p:ext uri="{BB962C8B-B14F-4D97-AF65-F5344CB8AC3E}">
        <p14:creationId xmlns:p14="http://schemas.microsoft.com/office/powerpoint/2010/main" val="300629427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ransparent colour for picture background">
    <p:spTree>
      <p:nvGrpSpPr>
        <p:cNvPr id="1" name=""/>
        <p:cNvGrpSpPr/>
        <p:nvPr/>
      </p:nvGrpSpPr>
      <p:grpSpPr>
        <a:xfrm>
          <a:off x="0" y="0"/>
          <a:ext cx="0" cy="0"/>
          <a:chOff x="0" y="0"/>
          <a:chExt cx="0" cy="0"/>
        </a:xfrm>
      </p:grpSpPr>
      <p:sp>
        <p:nvSpPr>
          <p:cNvPr id="5" name="Freeform 4"/>
          <p:cNvSpPr/>
          <p:nvPr userDrawn="1"/>
        </p:nvSpPr>
        <p:spPr>
          <a:xfrm>
            <a:off x="-28576" y="1146412"/>
            <a:ext cx="7806519" cy="3712191"/>
          </a:xfrm>
          <a:custGeom>
            <a:avLst/>
            <a:gdLst>
              <a:gd name="connsiteX0" fmla="*/ 0 w 7806519"/>
              <a:gd name="connsiteY0" fmla="*/ 0 h 3712191"/>
              <a:gd name="connsiteX1" fmla="*/ 7806519 w 7806519"/>
              <a:gd name="connsiteY1" fmla="*/ 0 h 3712191"/>
              <a:gd name="connsiteX2" fmla="*/ 6564573 w 7806519"/>
              <a:gd name="connsiteY2" fmla="*/ 3712191 h 3712191"/>
              <a:gd name="connsiteX3" fmla="*/ 13648 w 7806519"/>
              <a:gd name="connsiteY3" fmla="*/ 3712191 h 3712191"/>
              <a:gd name="connsiteX4" fmla="*/ 0 w 7806519"/>
              <a:gd name="connsiteY4" fmla="*/ 0 h 3712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6519" h="3712191">
                <a:moveTo>
                  <a:pt x="0" y="0"/>
                </a:moveTo>
                <a:lnTo>
                  <a:pt x="7806519" y="0"/>
                </a:lnTo>
                <a:lnTo>
                  <a:pt x="6564573" y="3712191"/>
                </a:lnTo>
                <a:lnTo>
                  <a:pt x="13648" y="3712191"/>
                </a:lnTo>
                <a:cubicBezTo>
                  <a:pt x="9099" y="2474794"/>
                  <a:pt x="4549" y="1237397"/>
                  <a:pt x="0" y="0"/>
                </a:cubicBezTo>
                <a:close/>
              </a:path>
            </a:pathLst>
          </a:cu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972000" y="2772000"/>
            <a:ext cx="5616000" cy="1512000"/>
          </a:xfrm>
          <a:prstGeom prst="rect">
            <a:avLst/>
          </a:prstGeom>
        </p:spPr>
        <p:txBody>
          <a:bodyPr>
            <a:noAutofit/>
          </a:bodyPr>
          <a:lstStyle/>
          <a:p>
            <a:r>
              <a:rPr lang="en-US"/>
              <a:t>Click to edit Master title style</a:t>
            </a:r>
            <a:endParaRPr lang="en-GB" dirty="0"/>
          </a:p>
        </p:txBody>
      </p:sp>
      <p:sp>
        <p:nvSpPr>
          <p:cNvPr id="3" name="Subtitle 2"/>
          <p:cNvSpPr>
            <a:spLocks noGrp="1"/>
          </p:cNvSpPr>
          <p:nvPr>
            <p:ph type="subTitle" idx="1" hasCustomPrompt="1"/>
          </p:nvPr>
        </p:nvSpPr>
        <p:spPr>
          <a:xfrm>
            <a:off x="972000" y="4305600"/>
            <a:ext cx="5616000" cy="410400"/>
          </a:xfrm>
          <a:prstGeom prst="rect">
            <a:avLst/>
          </a:prstGeom>
        </p:spPr>
        <p:txBody>
          <a:bodyPr>
            <a:noAutofit/>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1430" y="1764084"/>
            <a:ext cx="1469814" cy="900000"/>
          </a:xfrm>
          <a:prstGeom prst="rect">
            <a:avLst/>
          </a:prstGeom>
        </p:spPr>
      </p:pic>
      <p:sp>
        <p:nvSpPr>
          <p:cNvPr id="6" name="Footer Placeholder 1"/>
          <p:cNvSpPr>
            <a:spLocks noGrp="1"/>
          </p:cNvSpPr>
          <p:nvPr>
            <p:ph type="ftr" sz="quarter" idx="3"/>
          </p:nvPr>
        </p:nvSpPr>
        <p:spPr>
          <a:xfrm>
            <a:off x="1116335" y="6340475"/>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7 – All rights reserved</a:t>
            </a:r>
            <a:endParaRPr lang="fr-FR" dirty="0"/>
          </a:p>
        </p:txBody>
      </p:sp>
    </p:spTree>
    <p:extLst>
      <p:ext uri="{BB962C8B-B14F-4D97-AF65-F5344CB8AC3E}">
        <p14:creationId xmlns:p14="http://schemas.microsoft.com/office/powerpoint/2010/main" val="268142655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r>
              <a:rPr lang="en-US"/>
              <a:t>© HL Display 2017 – All rights reserved</a:t>
            </a:r>
            <a:endParaRPr lang="en-GB"/>
          </a:p>
        </p:txBody>
      </p:sp>
      <p:sp>
        <p:nvSpPr>
          <p:cNvPr id="5" name="Slide Number Placeholder 4"/>
          <p:cNvSpPr>
            <a:spLocks noGrp="1"/>
          </p:cNvSpPr>
          <p:nvPr>
            <p:ph type="sldNum" sz="quarter" idx="12"/>
          </p:nvPr>
        </p:nvSpPr>
        <p:spPr/>
        <p:txBody>
          <a:bodyPr/>
          <a:lstStyle/>
          <a:p>
            <a:fld id="{1DF9C3AE-ADEC-43A4-ABFF-B9D3057E0680}" type="slidenum">
              <a:rPr lang="en-GB" smtClean="0"/>
              <a:t>‹#›</a:t>
            </a:fld>
            <a:endParaRPr lang="en-GB"/>
          </a:p>
        </p:txBody>
      </p:sp>
    </p:spTree>
    <p:extLst>
      <p:ext uri="{BB962C8B-B14F-4D97-AF65-F5344CB8AC3E}">
        <p14:creationId xmlns:p14="http://schemas.microsoft.com/office/powerpoint/2010/main" val="195785102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Introduction presentation">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5" name="Picture Placeholder 4"/>
          <p:cNvSpPr>
            <a:spLocks noGrp="1"/>
          </p:cNvSpPr>
          <p:nvPr>
            <p:ph type="pic" sz="quarter" idx="11"/>
          </p:nvPr>
        </p:nvSpPr>
        <p:spPr>
          <a:xfrm>
            <a:off x="1" y="0"/>
            <a:ext cx="5580062"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p>
            <a:endParaRPr lang="en-GB" dirty="0"/>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44155" y="5904253"/>
            <a:ext cx="885348" cy="540353"/>
          </a:xfrm>
          <a:prstGeom prst="rect">
            <a:avLst/>
          </a:prstGeom>
        </p:spPr>
      </p:pic>
      <p:sp>
        <p:nvSpPr>
          <p:cNvPr id="7" name="Text Placeholder 6"/>
          <p:cNvSpPr>
            <a:spLocks noGrp="1"/>
          </p:cNvSpPr>
          <p:nvPr>
            <p:ph type="body" sz="quarter" idx="12"/>
          </p:nvPr>
        </p:nvSpPr>
        <p:spPr>
          <a:xfrm>
            <a:off x="5148784" y="2339355"/>
            <a:ext cx="5822950" cy="2305050"/>
          </a:xfrm>
        </p:spPr>
        <p:txBody>
          <a:bodyPr/>
          <a:lstStyle>
            <a:lvl1pPr>
              <a:defRPr sz="2998">
                <a:solidFill>
                  <a:schemeClr val="tx2"/>
                </a:solidFill>
              </a:defRPr>
            </a:lvl1pPr>
            <a:lvl2pPr>
              <a:defRPr b="0"/>
            </a:lvl2pPr>
          </a:lstStyle>
          <a:p>
            <a:pPr lvl="0"/>
            <a:r>
              <a:rPr lang="en-US" dirty="0"/>
              <a:t>Click to edit Master text styles</a:t>
            </a:r>
          </a:p>
          <a:p>
            <a:pPr lvl="1"/>
            <a:r>
              <a:rPr lang="en-US" dirty="0"/>
              <a:t>Second level</a:t>
            </a:r>
          </a:p>
        </p:txBody>
      </p:sp>
      <p:sp>
        <p:nvSpPr>
          <p:cNvPr id="6" name="Holder 2"/>
          <p:cNvSpPr>
            <a:spLocks noGrp="1"/>
          </p:cNvSpPr>
          <p:nvPr>
            <p:ph type="ftr" sz="quarter" idx="5"/>
          </p:nvPr>
        </p:nvSpPr>
        <p:spPr>
          <a:xfrm>
            <a:off x="1116335" y="6340475"/>
            <a:ext cx="4108450" cy="363538"/>
          </a:xfrm>
        </p:spPr>
        <p:txBody>
          <a:bodyPr lIns="0" tIns="0" rIns="0" bIns="0"/>
          <a:lstStyle>
            <a:lvl1pPr algn="ctr">
              <a:defRPr>
                <a:solidFill>
                  <a:schemeClr val="tx1">
                    <a:tint val="75000"/>
                  </a:schemeClr>
                </a:solidFill>
              </a:defRPr>
            </a:lvl1pPr>
          </a:lstStyle>
          <a:p>
            <a:r>
              <a:rPr lang="en-US"/>
              <a:t>© HL Display 2017 – All rights reserved</a:t>
            </a:r>
            <a:endParaRPr/>
          </a:p>
        </p:txBody>
      </p:sp>
    </p:spTree>
    <p:extLst>
      <p:ext uri="{BB962C8B-B14F-4D97-AF65-F5344CB8AC3E}">
        <p14:creationId xmlns:p14="http://schemas.microsoft.com/office/powerpoint/2010/main" val="124372036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Close ups pictures">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2"/>
                </a:solidFill>
              </a:defRPr>
            </a:lvl1pPr>
          </a:lstStyle>
          <a:p>
            <a:r>
              <a:rPr lang="en-US" dirty="0"/>
              <a:t>Click to edit Master title style</a:t>
            </a:r>
            <a:endParaRPr lang="fr-FR" dirty="0"/>
          </a:p>
        </p:txBody>
      </p:sp>
      <p:sp>
        <p:nvSpPr>
          <p:cNvPr id="4" name="Picture Placeholder 4"/>
          <p:cNvSpPr>
            <a:spLocks noGrp="1"/>
          </p:cNvSpPr>
          <p:nvPr>
            <p:ph type="pic" sz="quarter" idx="12"/>
          </p:nvPr>
        </p:nvSpPr>
        <p:spPr>
          <a:xfrm>
            <a:off x="5051684" y="1680210"/>
            <a:ext cx="3444632" cy="3180218"/>
          </a:xfrm>
        </p:spPr>
        <p:txBody>
          <a:bodyPr/>
          <a:lstStyle/>
          <a:p>
            <a:endParaRPr lang="fr-FR"/>
          </a:p>
        </p:txBody>
      </p:sp>
      <p:sp>
        <p:nvSpPr>
          <p:cNvPr id="5" name="Picture Placeholder 4"/>
          <p:cNvSpPr>
            <a:spLocks noGrp="1"/>
          </p:cNvSpPr>
          <p:nvPr>
            <p:ph type="pic" sz="quarter" idx="13"/>
          </p:nvPr>
        </p:nvSpPr>
        <p:spPr>
          <a:xfrm>
            <a:off x="8725143" y="1680210"/>
            <a:ext cx="3444632" cy="3180218"/>
          </a:xfrm>
        </p:spPr>
        <p:txBody>
          <a:bodyPr/>
          <a:lstStyle/>
          <a:p>
            <a:endParaRPr lang="fr-FR"/>
          </a:p>
        </p:txBody>
      </p:sp>
      <p:sp>
        <p:nvSpPr>
          <p:cNvPr id="6" name="Text Placeholder 15"/>
          <p:cNvSpPr>
            <a:spLocks noGrp="1"/>
          </p:cNvSpPr>
          <p:nvPr>
            <p:ph type="body" sz="quarter" idx="17"/>
          </p:nvPr>
        </p:nvSpPr>
        <p:spPr>
          <a:xfrm>
            <a:off x="1188343" y="5076230"/>
            <a:ext cx="3634482" cy="360263"/>
          </a:xfrm>
        </p:spPr>
        <p:txBody>
          <a:bodyPr>
            <a:noAutofit/>
          </a:bodyPr>
          <a:lstStyle>
            <a:lvl1pPr>
              <a:defRPr sz="1600"/>
            </a:lvl1pPr>
          </a:lstStyle>
          <a:p>
            <a:pPr lvl="0"/>
            <a:r>
              <a:rPr lang="en-US" dirty="0"/>
              <a:t>Edit Master text styles</a:t>
            </a:r>
          </a:p>
        </p:txBody>
      </p:sp>
      <p:sp>
        <p:nvSpPr>
          <p:cNvPr id="7" name="Text Placeholder 15"/>
          <p:cNvSpPr>
            <a:spLocks noGrp="1"/>
          </p:cNvSpPr>
          <p:nvPr>
            <p:ph type="body" sz="quarter" idx="18"/>
          </p:nvPr>
        </p:nvSpPr>
        <p:spPr>
          <a:xfrm>
            <a:off x="5042822" y="5076230"/>
            <a:ext cx="3444907" cy="360263"/>
          </a:xfrm>
        </p:spPr>
        <p:txBody>
          <a:bodyPr>
            <a:noAutofit/>
          </a:bodyPr>
          <a:lstStyle>
            <a:lvl1pPr>
              <a:defRPr sz="1600"/>
            </a:lvl1pPr>
          </a:lstStyle>
          <a:p>
            <a:pPr lvl="0"/>
            <a:r>
              <a:rPr lang="en-US" dirty="0"/>
              <a:t>Edit Master text styles</a:t>
            </a:r>
          </a:p>
        </p:txBody>
      </p:sp>
      <p:sp>
        <p:nvSpPr>
          <p:cNvPr id="8" name="Text Placeholder 15"/>
          <p:cNvSpPr>
            <a:spLocks noGrp="1"/>
          </p:cNvSpPr>
          <p:nvPr>
            <p:ph type="body" sz="quarter" idx="19"/>
          </p:nvPr>
        </p:nvSpPr>
        <p:spPr>
          <a:xfrm>
            <a:off x="8707694" y="5076230"/>
            <a:ext cx="3444907" cy="360263"/>
          </a:xfrm>
        </p:spPr>
        <p:txBody>
          <a:bodyPr>
            <a:noAutofit/>
          </a:bodyPr>
          <a:lstStyle>
            <a:lvl1pPr>
              <a:defRPr sz="1600"/>
            </a:lvl1pPr>
          </a:lstStyle>
          <a:p>
            <a:pPr lvl="0"/>
            <a:r>
              <a:rPr lang="en-US" dirty="0"/>
              <a:t>Edit Master text styles</a:t>
            </a:r>
          </a:p>
        </p:txBody>
      </p:sp>
      <p:sp>
        <p:nvSpPr>
          <p:cNvPr id="9" name="Picture Placeholder 28"/>
          <p:cNvSpPr>
            <a:spLocks noGrp="1"/>
          </p:cNvSpPr>
          <p:nvPr>
            <p:ph type="pic" sz="quarter" idx="20"/>
          </p:nvPr>
        </p:nvSpPr>
        <p:spPr>
          <a:xfrm>
            <a:off x="1239053" y="1680210"/>
            <a:ext cx="3583772" cy="3161274"/>
          </a:xfrm>
          <a:custGeom>
            <a:avLst/>
            <a:gdLst>
              <a:gd name="connsiteX0" fmla="*/ 0 w 3444875"/>
              <a:gd name="connsiteY0" fmla="*/ 3149699 h 3149699"/>
              <a:gd name="connsiteX1" fmla="*/ 787425 w 3444875"/>
              <a:gd name="connsiteY1" fmla="*/ 0 h 3149699"/>
              <a:gd name="connsiteX2" fmla="*/ 3444875 w 3444875"/>
              <a:gd name="connsiteY2" fmla="*/ 0 h 3149699"/>
              <a:gd name="connsiteX3" fmla="*/ 2657450 w 3444875"/>
              <a:gd name="connsiteY3" fmla="*/ 3149699 h 3149699"/>
              <a:gd name="connsiteX4" fmla="*/ 0 w 3444875"/>
              <a:gd name="connsiteY4" fmla="*/ 3149699 h 3149699"/>
              <a:gd name="connsiteX0" fmla="*/ 0 w 3444875"/>
              <a:gd name="connsiteY0" fmla="*/ 3149699 h 3161274"/>
              <a:gd name="connsiteX1" fmla="*/ 787425 w 3444875"/>
              <a:gd name="connsiteY1" fmla="*/ 0 h 3161274"/>
              <a:gd name="connsiteX2" fmla="*/ 3444875 w 3444875"/>
              <a:gd name="connsiteY2" fmla="*/ 0 h 3161274"/>
              <a:gd name="connsiteX3" fmla="*/ 3375081 w 3444875"/>
              <a:gd name="connsiteY3" fmla="*/ 3161274 h 3161274"/>
              <a:gd name="connsiteX4" fmla="*/ 0 w 3444875"/>
              <a:gd name="connsiteY4" fmla="*/ 3149699 h 3161274"/>
              <a:gd name="connsiteX0" fmla="*/ 0 w 3444875"/>
              <a:gd name="connsiteY0" fmla="*/ 3149699 h 3161274"/>
              <a:gd name="connsiteX1" fmla="*/ 787425 w 3444875"/>
              <a:gd name="connsiteY1" fmla="*/ 0 h 3161274"/>
              <a:gd name="connsiteX2" fmla="*/ 3444875 w 3444875"/>
              <a:gd name="connsiteY2" fmla="*/ 0 h 3161274"/>
              <a:gd name="connsiteX3" fmla="*/ 3432955 w 3444875"/>
              <a:gd name="connsiteY3" fmla="*/ 3161274 h 3161274"/>
              <a:gd name="connsiteX4" fmla="*/ 0 w 3444875"/>
              <a:gd name="connsiteY4" fmla="*/ 3149699 h 3161274"/>
              <a:gd name="connsiteX0" fmla="*/ 0 w 3583772"/>
              <a:gd name="connsiteY0" fmla="*/ 3161274 h 3161274"/>
              <a:gd name="connsiteX1" fmla="*/ 926322 w 3583772"/>
              <a:gd name="connsiteY1" fmla="*/ 0 h 3161274"/>
              <a:gd name="connsiteX2" fmla="*/ 3583772 w 3583772"/>
              <a:gd name="connsiteY2" fmla="*/ 0 h 3161274"/>
              <a:gd name="connsiteX3" fmla="*/ 3571852 w 3583772"/>
              <a:gd name="connsiteY3" fmla="*/ 3161274 h 3161274"/>
              <a:gd name="connsiteX4" fmla="*/ 0 w 3583772"/>
              <a:gd name="connsiteY4" fmla="*/ 3161274 h 3161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3772" h="3161274">
                <a:moveTo>
                  <a:pt x="0" y="3161274"/>
                </a:moveTo>
                <a:lnTo>
                  <a:pt x="926322" y="0"/>
                </a:lnTo>
                <a:lnTo>
                  <a:pt x="3583772" y="0"/>
                </a:lnTo>
                <a:cubicBezTo>
                  <a:pt x="3579799" y="1053758"/>
                  <a:pt x="3575825" y="2107516"/>
                  <a:pt x="3571852" y="3161274"/>
                </a:cubicBezTo>
                <a:lnTo>
                  <a:pt x="0" y="3161274"/>
                </a:lnTo>
                <a:close/>
              </a:path>
            </a:pathLst>
          </a:custGeom>
          <a:noFill/>
        </p:spPr>
        <p:txBody>
          <a:bodyPr/>
          <a:lstStyle/>
          <a:p>
            <a:endParaRPr lang="fr-F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11" name="Holder 2"/>
          <p:cNvSpPr>
            <a:spLocks noGrp="1"/>
          </p:cNvSpPr>
          <p:nvPr>
            <p:ph type="ftr" sz="quarter" idx="5"/>
          </p:nvPr>
        </p:nvSpPr>
        <p:spPr>
          <a:xfrm>
            <a:off x="1116335" y="6340475"/>
            <a:ext cx="4108450" cy="363538"/>
          </a:xfrm>
        </p:spPr>
        <p:txBody>
          <a:bodyPr lIns="0" tIns="0" rIns="0" bIns="0"/>
          <a:lstStyle>
            <a:lvl1pPr algn="ctr">
              <a:defRPr>
                <a:solidFill>
                  <a:schemeClr val="tx1">
                    <a:tint val="75000"/>
                  </a:schemeClr>
                </a:solidFill>
              </a:defRPr>
            </a:lvl1pPr>
          </a:lstStyle>
          <a:p>
            <a:r>
              <a:rPr lang="en-US"/>
              <a:t>© HL Display 2017 – All rights reserved</a:t>
            </a:r>
            <a:endParaRPr/>
          </a:p>
        </p:txBody>
      </p:sp>
      <p:sp>
        <p:nvSpPr>
          <p:cNvPr id="12" name="Picture Placeholder 4"/>
          <p:cNvSpPr>
            <a:spLocks noGrp="1"/>
          </p:cNvSpPr>
          <p:nvPr>
            <p:ph type="pic" sz="quarter" idx="21"/>
          </p:nvPr>
        </p:nvSpPr>
        <p:spPr>
          <a:xfrm>
            <a:off x="5004767" y="1692077"/>
            <a:ext cx="3444632" cy="3180218"/>
          </a:xfrm>
          <a:prstGeom prst="rect">
            <a:avLst/>
          </a:prstGeom>
        </p:spPr>
        <p:txBody>
          <a:bodyPr/>
          <a:lstStyle/>
          <a:p>
            <a:endParaRPr lang="fr-FR"/>
          </a:p>
        </p:txBody>
      </p:sp>
      <p:sp>
        <p:nvSpPr>
          <p:cNvPr id="13" name="Picture Placeholder 4"/>
          <p:cNvSpPr>
            <a:spLocks noGrp="1"/>
          </p:cNvSpPr>
          <p:nvPr>
            <p:ph type="pic" sz="quarter" idx="22"/>
          </p:nvPr>
        </p:nvSpPr>
        <p:spPr>
          <a:xfrm>
            <a:off x="8678226" y="1692077"/>
            <a:ext cx="3444632" cy="3180218"/>
          </a:xfrm>
          <a:prstGeom prst="rect">
            <a:avLst/>
          </a:prstGeom>
        </p:spPr>
        <p:txBody>
          <a:bodyPr/>
          <a:lstStyle/>
          <a:p>
            <a:endParaRPr lang="fr-FR" dirty="0"/>
          </a:p>
        </p:txBody>
      </p:sp>
    </p:spTree>
    <p:extLst>
      <p:ext uri="{BB962C8B-B14F-4D97-AF65-F5344CB8AC3E}">
        <p14:creationId xmlns:p14="http://schemas.microsoft.com/office/powerpoint/2010/main" val="338188817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Chapter pa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0165" y="1908101"/>
            <a:ext cx="10589444" cy="995809"/>
          </a:xfrm>
        </p:spPr>
        <p:txBody>
          <a:bodyPr>
            <a:noAutofit/>
          </a:bodyPr>
          <a:lstStyle>
            <a:lvl1pPr algn="ctr">
              <a:defRPr sz="5400">
                <a:solidFill>
                  <a:schemeClr val="bg2"/>
                </a:solidFill>
              </a:defRPr>
            </a:lvl1pPr>
          </a:lstStyle>
          <a:p>
            <a:r>
              <a:rPr lang="en-US" dirty="0"/>
              <a:t>Click to edit Master title style</a:t>
            </a:r>
            <a:endParaRPr lang="en-GB" dirty="0"/>
          </a:p>
        </p:txBody>
      </p:sp>
      <p:sp>
        <p:nvSpPr>
          <p:cNvPr id="6" name="Slide Number Placeholder 5"/>
          <p:cNvSpPr>
            <a:spLocks noGrp="1"/>
          </p:cNvSpPr>
          <p:nvPr>
            <p:ph type="sldNum" sz="quarter" idx="12"/>
          </p:nvPr>
        </p:nvSpPr>
        <p:spPr/>
        <p:txBody>
          <a:bodyPr/>
          <a:lstStyle/>
          <a:p>
            <a:fld id="{C864BB8D-94B4-466C-94BF-D114C83BF951}" type="slidenum">
              <a:rPr lang="en-GB" smtClean="0"/>
              <a:t>‹#›</a:t>
            </a:fld>
            <a:endParaRPr lang="en-GB"/>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7" name="Holder 2"/>
          <p:cNvSpPr>
            <a:spLocks noGrp="1"/>
          </p:cNvSpPr>
          <p:nvPr>
            <p:ph type="ftr" sz="quarter" idx="5"/>
          </p:nvPr>
        </p:nvSpPr>
        <p:spPr>
          <a:xfrm>
            <a:off x="1116335" y="6340475"/>
            <a:ext cx="4108450" cy="363538"/>
          </a:xfrm>
        </p:spPr>
        <p:txBody>
          <a:bodyPr lIns="0" tIns="0" rIns="0" bIns="0"/>
          <a:lstStyle>
            <a:lvl1pPr algn="ctr">
              <a:defRPr>
                <a:solidFill>
                  <a:schemeClr val="tx1">
                    <a:tint val="75000"/>
                  </a:schemeClr>
                </a:solidFill>
              </a:defRPr>
            </a:lvl1pPr>
          </a:lstStyle>
          <a:p>
            <a:r>
              <a:rPr lang="en-US"/>
              <a:t>© HL Display 2017 – All rights reserved</a:t>
            </a:r>
            <a:endParaRPr/>
          </a:p>
        </p:txBody>
      </p:sp>
    </p:spTree>
    <p:extLst>
      <p:ext uri="{BB962C8B-B14F-4D97-AF65-F5344CB8AC3E}">
        <p14:creationId xmlns:p14="http://schemas.microsoft.com/office/powerpoint/2010/main" val="149457178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ull color for 5th element and white bacground">
    <p:spTree>
      <p:nvGrpSpPr>
        <p:cNvPr id="1" name=""/>
        <p:cNvGrpSpPr/>
        <p:nvPr/>
      </p:nvGrpSpPr>
      <p:grpSpPr>
        <a:xfrm>
          <a:off x="0" y="0"/>
          <a:ext cx="0" cy="0"/>
          <a:chOff x="0" y="0"/>
          <a:chExt cx="0" cy="0"/>
        </a:xfrm>
      </p:grpSpPr>
      <p:sp>
        <p:nvSpPr>
          <p:cNvPr id="5" name="Freeform 4"/>
          <p:cNvSpPr/>
          <p:nvPr userDrawn="1"/>
        </p:nvSpPr>
        <p:spPr>
          <a:xfrm>
            <a:off x="-28576" y="1146412"/>
            <a:ext cx="7806519" cy="3712191"/>
          </a:xfrm>
          <a:custGeom>
            <a:avLst/>
            <a:gdLst>
              <a:gd name="connsiteX0" fmla="*/ 0 w 7806519"/>
              <a:gd name="connsiteY0" fmla="*/ 0 h 3712191"/>
              <a:gd name="connsiteX1" fmla="*/ 7806519 w 7806519"/>
              <a:gd name="connsiteY1" fmla="*/ 0 h 3712191"/>
              <a:gd name="connsiteX2" fmla="*/ 6564573 w 7806519"/>
              <a:gd name="connsiteY2" fmla="*/ 3712191 h 3712191"/>
              <a:gd name="connsiteX3" fmla="*/ 13648 w 7806519"/>
              <a:gd name="connsiteY3" fmla="*/ 3712191 h 3712191"/>
              <a:gd name="connsiteX4" fmla="*/ 0 w 7806519"/>
              <a:gd name="connsiteY4" fmla="*/ 0 h 3712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6519" h="3712191">
                <a:moveTo>
                  <a:pt x="0" y="0"/>
                </a:moveTo>
                <a:lnTo>
                  <a:pt x="7806519" y="0"/>
                </a:lnTo>
                <a:lnTo>
                  <a:pt x="6564573" y="3712191"/>
                </a:lnTo>
                <a:lnTo>
                  <a:pt x="13648" y="3712191"/>
                </a:lnTo>
                <a:cubicBezTo>
                  <a:pt x="9099" y="2474794"/>
                  <a:pt x="4549" y="1237397"/>
                  <a:pt x="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p:nvPr>
        </p:nvSpPr>
        <p:spPr>
          <a:xfrm>
            <a:off x="972000" y="2772365"/>
            <a:ext cx="5616000" cy="1512000"/>
          </a:xfrm>
          <a:prstGeom prst="rect">
            <a:avLst/>
          </a:prstGeom>
        </p:spPr>
        <p:txBody>
          <a:bodyPr>
            <a:noAutofit/>
          </a:bodyPr>
          <a:lstStyle/>
          <a:p>
            <a:r>
              <a:rPr lang="en-US"/>
              <a:t>Click to edit Master title style</a:t>
            </a:r>
            <a:endParaRPr lang="en-GB" dirty="0"/>
          </a:p>
        </p:txBody>
      </p:sp>
      <p:sp>
        <p:nvSpPr>
          <p:cNvPr id="3" name="Subtitle 2"/>
          <p:cNvSpPr>
            <a:spLocks noGrp="1"/>
          </p:cNvSpPr>
          <p:nvPr>
            <p:ph type="subTitle" idx="1" hasCustomPrompt="1"/>
          </p:nvPr>
        </p:nvSpPr>
        <p:spPr>
          <a:xfrm>
            <a:off x="972000" y="4305600"/>
            <a:ext cx="5616000" cy="410400"/>
          </a:xfrm>
          <a:prstGeom prst="rect">
            <a:avLst/>
          </a:prstGeom>
        </p:spPr>
        <p:txBody>
          <a:bodyPr>
            <a:noAutofit/>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1430" y="1764084"/>
            <a:ext cx="1469814" cy="900000"/>
          </a:xfrm>
          <a:prstGeom prst="rect">
            <a:avLst/>
          </a:prstGeom>
        </p:spPr>
      </p:pic>
      <p:sp>
        <p:nvSpPr>
          <p:cNvPr id="6" name="Footer Placeholder 1"/>
          <p:cNvSpPr>
            <a:spLocks noGrp="1"/>
          </p:cNvSpPr>
          <p:nvPr>
            <p:ph type="ftr" sz="quarter" idx="3"/>
          </p:nvPr>
        </p:nvSpPr>
        <p:spPr>
          <a:xfrm>
            <a:off x="1116335" y="6340475"/>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2019 – All rights reserved</a:t>
            </a:r>
            <a:endParaRPr lang="fr-FR" dirty="0"/>
          </a:p>
        </p:txBody>
      </p:sp>
    </p:spTree>
    <p:extLst>
      <p:ext uri="{BB962C8B-B14F-4D97-AF65-F5344CB8AC3E}">
        <p14:creationId xmlns:p14="http://schemas.microsoft.com/office/powerpoint/2010/main" val="354647534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ransparent colour for picture background">
    <p:spTree>
      <p:nvGrpSpPr>
        <p:cNvPr id="1" name=""/>
        <p:cNvGrpSpPr/>
        <p:nvPr/>
      </p:nvGrpSpPr>
      <p:grpSpPr>
        <a:xfrm>
          <a:off x="0" y="0"/>
          <a:ext cx="0" cy="0"/>
          <a:chOff x="0" y="0"/>
          <a:chExt cx="0" cy="0"/>
        </a:xfrm>
      </p:grpSpPr>
      <p:sp>
        <p:nvSpPr>
          <p:cNvPr id="5" name="Freeform 4"/>
          <p:cNvSpPr/>
          <p:nvPr userDrawn="1"/>
        </p:nvSpPr>
        <p:spPr>
          <a:xfrm>
            <a:off x="-28576" y="1146412"/>
            <a:ext cx="7806519" cy="3712191"/>
          </a:xfrm>
          <a:custGeom>
            <a:avLst/>
            <a:gdLst>
              <a:gd name="connsiteX0" fmla="*/ 0 w 7806519"/>
              <a:gd name="connsiteY0" fmla="*/ 0 h 3712191"/>
              <a:gd name="connsiteX1" fmla="*/ 7806519 w 7806519"/>
              <a:gd name="connsiteY1" fmla="*/ 0 h 3712191"/>
              <a:gd name="connsiteX2" fmla="*/ 6564573 w 7806519"/>
              <a:gd name="connsiteY2" fmla="*/ 3712191 h 3712191"/>
              <a:gd name="connsiteX3" fmla="*/ 13648 w 7806519"/>
              <a:gd name="connsiteY3" fmla="*/ 3712191 h 3712191"/>
              <a:gd name="connsiteX4" fmla="*/ 0 w 7806519"/>
              <a:gd name="connsiteY4" fmla="*/ 0 h 3712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6519" h="3712191">
                <a:moveTo>
                  <a:pt x="0" y="0"/>
                </a:moveTo>
                <a:lnTo>
                  <a:pt x="7806519" y="0"/>
                </a:lnTo>
                <a:lnTo>
                  <a:pt x="6564573" y="3712191"/>
                </a:lnTo>
                <a:lnTo>
                  <a:pt x="13648" y="3712191"/>
                </a:lnTo>
                <a:cubicBezTo>
                  <a:pt x="9099" y="2474794"/>
                  <a:pt x="4549" y="1237397"/>
                  <a:pt x="0" y="0"/>
                </a:cubicBezTo>
                <a:close/>
              </a:path>
            </a:pathLst>
          </a:cu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972000" y="2772000"/>
            <a:ext cx="5616000" cy="1512000"/>
          </a:xfrm>
          <a:prstGeom prst="rect">
            <a:avLst/>
          </a:prstGeom>
        </p:spPr>
        <p:txBody>
          <a:bodyPr>
            <a:noAutofit/>
          </a:bodyPr>
          <a:lstStyle>
            <a:lvl1pPr>
              <a:defRPr sz="3200" i="0"/>
            </a:lvl1pPr>
          </a:lstStyle>
          <a:p>
            <a:r>
              <a:rPr lang="en-US" dirty="0"/>
              <a:t>Click to edit Master title style - Blue element with transparence for full picture background</a:t>
            </a:r>
            <a:br>
              <a:rPr lang="en-US" dirty="0"/>
            </a:br>
            <a:endParaRPr lang="en-GB" dirty="0"/>
          </a:p>
        </p:txBody>
      </p:sp>
      <p:sp>
        <p:nvSpPr>
          <p:cNvPr id="3" name="Subtitle 2"/>
          <p:cNvSpPr>
            <a:spLocks noGrp="1"/>
          </p:cNvSpPr>
          <p:nvPr>
            <p:ph type="subTitle" idx="1" hasCustomPrompt="1"/>
          </p:nvPr>
        </p:nvSpPr>
        <p:spPr>
          <a:xfrm>
            <a:off x="972000" y="4305600"/>
            <a:ext cx="5616000" cy="410400"/>
          </a:xfrm>
          <a:prstGeom prst="rect">
            <a:avLst/>
          </a:prstGeom>
        </p:spPr>
        <p:txBody>
          <a:bodyPr>
            <a:noAutofit/>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1430" y="1764084"/>
            <a:ext cx="1469814" cy="900000"/>
          </a:xfrm>
          <a:prstGeom prst="rect">
            <a:avLst/>
          </a:prstGeom>
        </p:spPr>
      </p:pic>
      <p:sp>
        <p:nvSpPr>
          <p:cNvPr id="6" name="Footer Placeholder 1"/>
          <p:cNvSpPr>
            <a:spLocks noGrp="1"/>
          </p:cNvSpPr>
          <p:nvPr>
            <p:ph type="ftr" sz="quarter" idx="3"/>
          </p:nvPr>
        </p:nvSpPr>
        <p:spPr>
          <a:xfrm>
            <a:off x="1116335" y="6340475"/>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2019 – All rights reserved</a:t>
            </a:r>
            <a:endParaRPr lang="fr-FR" dirty="0"/>
          </a:p>
        </p:txBody>
      </p:sp>
    </p:spTree>
    <p:extLst>
      <p:ext uri="{BB962C8B-B14F-4D97-AF65-F5344CB8AC3E}">
        <p14:creationId xmlns:p14="http://schemas.microsoft.com/office/powerpoint/2010/main" val="342498258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Introduction presentation">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5"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p>
            <a:endParaRPr lang="en-GB" dirty="0"/>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7" name="Text Placeholder 6"/>
          <p:cNvSpPr>
            <a:spLocks noGrp="1"/>
          </p:cNvSpPr>
          <p:nvPr>
            <p:ph type="body" sz="quarter" idx="12"/>
          </p:nvPr>
        </p:nvSpPr>
        <p:spPr>
          <a:xfrm>
            <a:off x="5148783" y="2339355"/>
            <a:ext cx="5822950" cy="2305050"/>
          </a:xfrm>
        </p:spPr>
        <p:txBody>
          <a:bodyPr/>
          <a:lstStyle>
            <a:lvl1pPr>
              <a:defRPr sz="4000">
                <a:solidFill>
                  <a:schemeClr val="tx2"/>
                </a:solidFill>
              </a:defRPr>
            </a:lvl1pPr>
            <a:lvl2pPr>
              <a:defRPr b="0"/>
            </a:lvl2pPr>
          </a:lstStyle>
          <a:p>
            <a:pPr lvl="0"/>
            <a:r>
              <a:rPr lang="en-US" dirty="0"/>
              <a:t>Click to edit Master text styles</a:t>
            </a:r>
          </a:p>
          <a:p>
            <a:pPr lvl="1"/>
            <a:r>
              <a:rPr lang="en-US" dirty="0"/>
              <a:t>Second level</a:t>
            </a:r>
          </a:p>
        </p:txBody>
      </p:sp>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8 – All rights reserved</a:t>
            </a:r>
            <a:endParaRPr lang="fr-FR" dirty="0"/>
          </a:p>
        </p:txBody>
      </p:sp>
    </p:spTree>
    <p:extLst>
      <p:ext uri="{BB962C8B-B14F-4D97-AF65-F5344CB8AC3E}">
        <p14:creationId xmlns:p14="http://schemas.microsoft.com/office/powerpoint/2010/main" val="11654494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ackground picture white logo">
    <p:spTree>
      <p:nvGrpSpPr>
        <p:cNvPr id="1" name=""/>
        <p:cNvGrpSpPr/>
        <p:nvPr/>
      </p:nvGrpSpPr>
      <p:grpSpPr>
        <a:xfrm>
          <a:off x="0" y="0"/>
          <a:ext cx="0" cy="0"/>
          <a:chOff x="0" y="0"/>
          <a:chExt cx="0" cy="0"/>
        </a:xfrm>
      </p:grpSpPr>
      <p:sp>
        <p:nvSpPr>
          <p:cNvPr id="2" name="Title 1"/>
          <p:cNvSpPr>
            <a:spLocks noGrp="1"/>
          </p:cNvSpPr>
          <p:nvPr>
            <p:ph type="title"/>
          </p:nvPr>
        </p:nvSpPr>
        <p:spPr>
          <a:xfrm>
            <a:off x="936316" y="1992412"/>
            <a:ext cx="10297144" cy="1139825"/>
          </a:xfrm>
        </p:spPr>
        <p:txBody>
          <a:bodyPr/>
          <a:lstStyle>
            <a:lvl1pPr algn="ctr">
              <a:defRPr b="0">
                <a:solidFill>
                  <a:schemeClr val="bg2"/>
                </a:solidFill>
              </a:defRPr>
            </a:lvl1p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dirty="0"/>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5"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2"/>
                </a:solidFill>
              </a:defRPr>
            </a:lvl1pPr>
          </a:lstStyle>
          <a:p>
            <a:r>
              <a:rPr lang="en-US" dirty="0"/>
              <a:t>© HL Display 2017 – All rights reserved</a:t>
            </a:r>
            <a:endParaRPr lang="fr-FR" dirty="0"/>
          </a:p>
        </p:txBody>
      </p:sp>
    </p:spTree>
    <p:extLst>
      <p:ext uri="{BB962C8B-B14F-4D97-AF65-F5344CB8AC3E}">
        <p14:creationId xmlns:p14="http://schemas.microsoft.com/office/powerpoint/2010/main" val="158353375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tandard page">
    <p:spTree>
      <p:nvGrpSpPr>
        <p:cNvPr id="1" name=""/>
        <p:cNvGrpSpPr/>
        <p:nvPr/>
      </p:nvGrpSpPr>
      <p:grpSpPr>
        <a:xfrm>
          <a:off x="0" y="0"/>
          <a:ext cx="0" cy="0"/>
          <a:chOff x="0" y="0"/>
          <a:chExt cx="0" cy="0"/>
        </a:xfrm>
      </p:grpSpPr>
      <p:sp>
        <p:nvSpPr>
          <p:cNvPr id="2" name="Title 1"/>
          <p:cNvSpPr>
            <a:spLocks noGrp="1"/>
          </p:cNvSpPr>
          <p:nvPr>
            <p:ph type="title"/>
          </p:nvPr>
        </p:nvSpPr>
        <p:spPr>
          <a:xfrm>
            <a:off x="972319" y="408236"/>
            <a:ext cx="10297144" cy="1139825"/>
          </a:xfrm>
        </p:spPr>
        <p:txBody>
          <a:bodyPr/>
          <a:lstStyle/>
          <a:p>
            <a:r>
              <a:rPr lang="en-US" dirty="0"/>
              <a:t>Click to edit Master title style</a:t>
            </a:r>
            <a:endParaRPr lang="en-GB" dirty="0"/>
          </a:p>
        </p:txBody>
      </p:sp>
      <p:sp>
        <p:nvSpPr>
          <p:cNvPr id="3" name="Slide Number Placeholder 2"/>
          <p:cNvSpPr>
            <a:spLocks noGrp="1"/>
          </p:cNvSpPr>
          <p:nvPr>
            <p:ph type="sldNum" sz="quarter" idx="10"/>
          </p:nvPr>
        </p:nvSpPr>
        <p:spPr>
          <a:xfrm>
            <a:off x="468263" y="6369099"/>
            <a:ext cx="503287" cy="363538"/>
          </a:xfrm>
        </p:spPr>
        <p:txBody>
          <a:bodyPr/>
          <a:lstStyle/>
          <a:p>
            <a:fld id="{C864BB8D-94B4-466C-94BF-D114C83BF951}" type="slidenum">
              <a:rPr lang="en-GB" smtClean="0"/>
              <a:pPr/>
              <a:t>‹#›</a:t>
            </a:fld>
            <a:endParaRPr lang="en-GB"/>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7" name="Text Placeholder 6"/>
          <p:cNvSpPr>
            <a:spLocks noGrp="1"/>
          </p:cNvSpPr>
          <p:nvPr>
            <p:ph type="body" sz="quarter" idx="11"/>
          </p:nvPr>
        </p:nvSpPr>
        <p:spPr>
          <a:xfrm>
            <a:off x="971550" y="2001600"/>
            <a:ext cx="10297913" cy="3959671"/>
          </a:xfrm>
        </p:spPr>
        <p:txBody>
          <a:bodyPr/>
          <a:lstStyle>
            <a:lvl2pPr marL="174625" indent="-174625">
              <a:defRPr b="0"/>
            </a:lvl2pPr>
            <a:lvl3pPr marL="446088" indent="-182563">
              <a:defRPr/>
            </a:lvl3pPr>
          </a:lstStyle>
          <a:p>
            <a:pPr lvl="0"/>
            <a:r>
              <a:rPr lang="en-US" dirty="0"/>
              <a:t>Click to edit Master text styles</a:t>
            </a:r>
          </a:p>
          <a:p>
            <a:pPr lvl="1"/>
            <a:r>
              <a:rPr lang="en-US" dirty="0"/>
              <a:t>Second level</a:t>
            </a:r>
          </a:p>
          <a:p>
            <a:pPr lvl="2"/>
            <a:r>
              <a:rPr lang="en-US" dirty="0"/>
              <a:t>Third level</a:t>
            </a:r>
          </a:p>
        </p:txBody>
      </p:sp>
      <p:sp>
        <p:nvSpPr>
          <p:cNvPr id="9"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261498381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ose ups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4" name="Picture Placeholder 4"/>
          <p:cNvSpPr>
            <a:spLocks noGrp="1"/>
          </p:cNvSpPr>
          <p:nvPr>
            <p:ph type="pic" sz="quarter" idx="12"/>
          </p:nvPr>
        </p:nvSpPr>
        <p:spPr>
          <a:xfrm>
            <a:off x="5051684" y="1680210"/>
            <a:ext cx="3444632" cy="3180218"/>
          </a:xfrm>
        </p:spPr>
        <p:txBody>
          <a:bodyPr/>
          <a:lstStyle/>
          <a:p>
            <a:endParaRPr lang="fr-FR"/>
          </a:p>
        </p:txBody>
      </p:sp>
      <p:sp>
        <p:nvSpPr>
          <p:cNvPr id="5" name="Picture Placeholder 4"/>
          <p:cNvSpPr>
            <a:spLocks noGrp="1"/>
          </p:cNvSpPr>
          <p:nvPr>
            <p:ph type="pic" sz="quarter" idx="13"/>
          </p:nvPr>
        </p:nvSpPr>
        <p:spPr>
          <a:xfrm>
            <a:off x="8725143" y="1680210"/>
            <a:ext cx="3444632" cy="3180218"/>
          </a:xfrm>
        </p:spPr>
        <p:txBody>
          <a:bodyPr/>
          <a:lstStyle/>
          <a:p>
            <a:endParaRPr lang="fr-FR"/>
          </a:p>
        </p:txBody>
      </p:sp>
      <p:sp>
        <p:nvSpPr>
          <p:cNvPr id="6" name="Text Placeholder 15"/>
          <p:cNvSpPr>
            <a:spLocks noGrp="1"/>
          </p:cNvSpPr>
          <p:nvPr>
            <p:ph type="body" sz="quarter" idx="17"/>
          </p:nvPr>
        </p:nvSpPr>
        <p:spPr>
          <a:xfrm>
            <a:off x="1188343" y="5076230"/>
            <a:ext cx="3634482" cy="360263"/>
          </a:xfrm>
        </p:spPr>
        <p:txBody>
          <a:bodyPr>
            <a:noAutofit/>
          </a:bodyPr>
          <a:lstStyle>
            <a:lvl1pPr>
              <a:defRPr sz="1600"/>
            </a:lvl1pPr>
          </a:lstStyle>
          <a:p>
            <a:pPr lvl="0"/>
            <a:r>
              <a:rPr lang="en-US" dirty="0"/>
              <a:t>Edit Master text styles</a:t>
            </a:r>
          </a:p>
        </p:txBody>
      </p:sp>
      <p:sp>
        <p:nvSpPr>
          <p:cNvPr id="7" name="Text Placeholder 15"/>
          <p:cNvSpPr>
            <a:spLocks noGrp="1"/>
          </p:cNvSpPr>
          <p:nvPr>
            <p:ph type="body" sz="quarter" idx="18"/>
          </p:nvPr>
        </p:nvSpPr>
        <p:spPr>
          <a:xfrm>
            <a:off x="5042822" y="5076230"/>
            <a:ext cx="3444907" cy="360263"/>
          </a:xfrm>
        </p:spPr>
        <p:txBody>
          <a:bodyPr>
            <a:noAutofit/>
          </a:bodyPr>
          <a:lstStyle>
            <a:lvl1pPr>
              <a:defRPr sz="1600"/>
            </a:lvl1pPr>
          </a:lstStyle>
          <a:p>
            <a:pPr lvl="0"/>
            <a:r>
              <a:rPr lang="en-US" dirty="0"/>
              <a:t>Edit Master text styles</a:t>
            </a:r>
          </a:p>
        </p:txBody>
      </p:sp>
      <p:sp>
        <p:nvSpPr>
          <p:cNvPr id="8" name="Text Placeholder 15"/>
          <p:cNvSpPr>
            <a:spLocks noGrp="1"/>
          </p:cNvSpPr>
          <p:nvPr>
            <p:ph type="body" sz="quarter" idx="19"/>
          </p:nvPr>
        </p:nvSpPr>
        <p:spPr>
          <a:xfrm>
            <a:off x="8707694" y="5076230"/>
            <a:ext cx="3444907" cy="360263"/>
          </a:xfrm>
        </p:spPr>
        <p:txBody>
          <a:bodyPr>
            <a:noAutofit/>
          </a:bodyPr>
          <a:lstStyle>
            <a:lvl1pPr>
              <a:defRPr sz="1600"/>
            </a:lvl1pPr>
          </a:lstStyle>
          <a:p>
            <a:pPr lvl="0"/>
            <a:r>
              <a:rPr lang="en-US" dirty="0"/>
              <a:t>Edit Master text styles</a:t>
            </a:r>
          </a:p>
        </p:txBody>
      </p:sp>
      <p:sp>
        <p:nvSpPr>
          <p:cNvPr id="9" name="Picture Placeholder 28"/>
          <p:cNvSpPr>
            <a:spLocks noGrp="1"/>
          </p:cNvSpPr>
          <p:nvPr>
            <p:ph type="pic" sz="quarter" idx="20"/>
          </p:nvPr>
        </p:nvSpPr>
        <p:spPr>
          <a:xfrm>
            <a:off x="1239053" y="1680210"/>
            <a:ext cx="3583772" cy="3161274"/>
          </a:xfrm>
          <a:custGeom>
            <a:avLst/>
            <a:gdLst>
              <a:gd name="connsiteX0" fmla="*/ 0 w 3444875"/>
              <a:gd name="connsiteY0" fmla="*/ 3149699 h 3149699"/>
              <a:gd name="connsiteX1" fmla="*/ 787425 w 3444875"/>
              <a:gd name="connsiteY1" fmla="*/ 0 h 3149699"/>
              <a:gd name="connsiteX2" fmla="*/ 3444875 w 3444875"/>
              <a:gd name="connsiteY2" fmla="*/ 0 h 3149699"/>
              <a:gd name="connsiteX3" fmla="*/ 2657450 w 3444875"/>
              <a:gd name="connsiteY3" fmla="*/ 3149699 h 3149699"/>
              <a:gd name="connsiteX4" fmla="*/ 0 w 3444875"/>
              <a:gd name="connsiteY4" fmla="*/ 3149699 h 3149699"/>
              <a:gd name="connsiteX0" fmla="*/ 0 w 3444875"/>
              <a:gd name="connsiteY0" fmla="*/ 3149699 h 3161274"/>
              <a:gd name="connsiteX1" fmla="*/ 787425 w 3444875"/>
              <a:gd name="connsiteY1" fmla="*/ 0 h 3161274"/>
              <a:gd name="connsiteX2" fmla="*/ 3444875 w 3444875"/>
              <a:gd name="connsiteY2" fmla="*/ 0 h 3161274"/>
              <a:gd name="connsiteX3" fmla="*/ 3375081 w 3444875"/>
              <a:gd name="connsiteY3" fmla="*/ 3161274 h 3161274"/>
              <a:gd name="connsiteX4" fmla="*/ 0 w 3444875"/>
              <a:gd name="connsiteY4" fmla="*/ 3149699 h 3161274"/>
              <a:gd name="connsiteX0" fmla="*/ 0 w 3444875"/>
              <a:gd name="connsiteY0" fmla="*/ 3149699 h 3161274"/>
              <a:gd name="connsiteX1" fmla="*/ 787425 w 3444875"/>
              <a:gd name="connsiteY1" fmla="*/ 0 h 3161274"/>
              <a:gd name="connsiteX2" fmla="*/ 3444875 w 3444875"/>
              <a:gd name="connsiteY2" fmla="*/ 0 h 3161274"/>
              <a:gd name="connsiteX3" fmla="*/ 3432955 w 3444875"/>
              <a:gd name="connsiteY3" fmla="*/ 3161274 h 3161274"/>
              <a:gd name="connsiteX4" fmla="*/ 0 w 3444875"/>
              <a:gd name="connsiteY4" fmla="*/ 3149699 h 3161274"/>
              <a:gd name="connsiteX0" fmla="*/ 0 w 3583772"/>
              <a:gd name="connsiteY0" fmla="*/ 3161274 h 3161274"/>
              <a:gd name="connsiteX1" fmla="*/ 926322 w 3583772"/>
              <a:gd name="connsiteY1" fmla="*/ 0 h 3161274"/>
              <a:gd name="connsiteX2" fmla="*/ 3583772 w 3583772"/>
              <a:gd name="connsiteY2" fmla="*/ 0 h 3161274"/>
              <a:gd name="connsiteX3" fmla="*/ 3571852 w 3583772"/>
              <a:gd name="connsiteY3" fmla="*/ 3161274 h 3161274"/>
              <a:gd name="connsiteX4" fmla="*/ 0 w 3583772"/>
              <a:gd name="connsiteY4" fmla="*/ 3161274 h 3161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3772" h="3161274">
                <a:moveTo>
                  <a:pt x="0" y="3161274"/>
                </a:moveTo>
                <a:lnTo>
                  <a:pt x="926322" y="0"/>
                </a:lnTo>
                <a:lnTo>
                  <a:pt x="3583772" y="0"/>
                </a:lnTo>
                <a:cubicBezTo>
                  <a:pt x="3579799" y="1053758"/>
                  <a:pt x="3575825" y="2107516"/>
                  <a:pt x="3571852" y="3161274"/>
                </a:cubicBezTo>
                <a:lnTo>
                  <a:pt x="0" y="3161274"/>
                </a:lnTo>
                <a:close/>
              </a:path>
            </a:pathLst>
          </a:custGeom>
          <a:noFill/>
        </p:spPr>
        <p:txBody>
          <a:bodyPr/>
          <a:lstStyle/>
          <a:p>
            <a:endParaRPr lang="fr-FR"/>
          </a:p>
        </p:txBody>
      </p:sp>
      <p:sp>
        <p:nvSpPr>
          <p:cNvPr id="11"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8 – All rights reserved</a:t>
            </a:r>
            <a:endParaRPr lang="fr-FR" dirty="0"/>
          </a:p>
        </p:txBody>
      </p:sp>
    </p:spTree>
    <p:extLst>
      <p:ext uri="{BB962C8B-B14F-4D97-AF65-F5344CB8AC3E}">
        <p14:creationId xmlns:p14="http://schemas.microsoft.com/office/powerpoint/2010/main" val="73854443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 columns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7" name="Content Placeholder 6"/>
          <p:cNvSpPr>
            <a:spLocks noGrp="1"/>
          </p:cNvSpPr>
          <p:nvPr>
            <p:ph sz="quarter" idx="11"/>
          </p:nvPr>
        </p:nvSpPr>
        <p:spPr>
          <a:xfrm>
            <a:off x="972319" y="1692077"/>
            <a:ext cx="4680520" cy="3888432"/>
          </a:xfrm>
        </p:spPr>
        <p:txBody>
          <a:bodyPr/>
          <a:lstStyle>
            <a:lvl2pPr>
              <a:defRPr b="0"/>
            </a:lvl2pPr>
          </a:lstStyle>
          <a:p>
            <a:pPr lvl="0"/>
            <a:r>
              <a:rPr lang="en-US" dirty="0"/>
              <a:t>Click to edit Master text styles</a:t>
            </a:r>
          </a:p>
          <a:p>
            <a:pPr lvl="1"/>
            <a:r>
              <a:rPr lang="en-US" dirty="0"/>
              <a:t>Second level</a:t>
            </a:r>
          </a:p>
          <a:p>
            <a:pPr lvl="2"/>
            <a:r>
              <a:rPr lang="en-US" dirty="0"/>
              <a:t>Third level</a:t>
            </a:r>
          </a:p>
        </p:txBody>
      </p:sp>
      <p:sp>
        <p:nvSpPr>
          <p:cNvPr id="9" name="Content Placeholder 8"/>
          <p:cNvSpPr>
            <a:spLocks noGrp="1"/>
          </p:cNvSpPr>
          <p:nvPr>
            <p:ph sz="quarter" idx="12"/>
          </p:nvPr>
        </p:nvSpPr>
        <p:spPr>
          <a:xfrm>
            <a:off x="6228903" y="1692077"/>
            <a:ext cx="5040312" cy="3888234"/>
          </a:xfrm>
        </p:spPr>
        <p:txBody>
          <a:bodyPr/>
          <a:lstStyle>
            <a:lvl2pPr>
              <a:defRPr b="0"/>
            </a:lvl2pPr>
          </a:lstStyle>
          <a:p>
            <a:pPr lvl="0"/>
            <a:r>
              <a:rPr lang="en-US" dirty="0"/>
              <a:t>Click to edit Master text styles</a:t>
            </a:r>
          </a:p>
          <a:p>
            <a:pPr lvl="1"/>
            <a:r>
              <a:rPr lang="en-US" dirty="0"/>
              <a:t>Second level</a:t>
            </a:r>
          </a:p>
          <a:p>
            <a:pPr lvl="2"/>
            <a:r>
              <a:rPr lang="en-US" dirty="0"/>
              <a:t>Third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4155" y="5904252"/>
            <a:ext cx="885348" cy="540353"/>
          </a:xfrm>
          <a:prstGeom prst="rect">
            <a:avLst/>
          </a:prstGeom>
        </p:spPr>
      </p:pic>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205391178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hapter pa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0165" y="1908101"/>
            <a:ext cx="10589444" cy="995809"/>
          </a:xfrm>
        </p:spPr>
        <p:txBody>
          <a:bodyPr>
            <a:noAutofit/>
          </a:bodyPr>
          <a:lstStyle>
            <a:lvl1pPr algn="ctr">
              <a:defRPr sz="5400">
                <a:solidFill>
                  <a:schemeClr val="bg2"/>
                </a:solidFill>
              </a:defRPr>
            </a:lvl1pPr>
          </a:lstStyle>
          <a:p>
            <a:r>
              <a:rPr lang="en-US" dirty="0"/>
              <a:t>Click to edit Master title style</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
        <p:nvSpPr>
          <p:cNvPr id="7"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403538451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framed picture + coloured slide">
    <p:bg>
      <p:bgPr>
        <a:solidFill>
          <a:schemeClr val="tx2"/>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lvl1pPr>
              <a:defRPr>
                <a:solidFill>
                  <a:schemeClr val="bg1"/>
                </a:solidFill>
              </a:defRPr>
            </a:lvl1pPr>
          </a:lstStyle>
          <a:p>
            <a:endParaRPr lang="en-GB" dirty="0"/>
          </a:p>
        </p:txBody>
      </p:sp>
      <p:sp>
        <p:nvSpPr>
          <p:cNvPr id="2" name="Title 1"/>
          <p:cNvSpPr>
            <a:spLocks noGrp="1"/>
          </p:cNvSpPr>
          <p:nvPr>
            <p:ph type="title"/>
          </p:nvPr>
        </p:nvSpPr>
        <p:spPr>
          <a:xfrm>
            <a:off x="5724847" y="1980109"/>
            <a:ext cx="5654762" cy="2940025"/>
          </a:xfrm>
        </p:spPr>
        <p:txBody>
          <a:bodyPr>
            <a:noAutofit/>
          </a:bodyPr>
          <a:lstStyle>
            <a:lvl1pPr algn="ctr">
              <a:defRPr sz="4000">
                <a:solidFill>
                  <a:schemeClr val="bg2"/>
                </a:solidFill>
              </a:defRPr>
            </a:lvl1pPr>
          </a:lstStyle>
          <a:p>
            <a:r>
              <a:rPr lang="en-US" dirty="0"/>
              <a:t>Click to edit Master title style</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
        <p:nvSpPr>
          <p:cNvPr id="8"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288588847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loured 5th element and background picture">
    <p:bg>
      <p:bgPr>
        <a:solidFill>
          <a:schemeClr val="tx2"/>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p>
            <a:endParaRPr lang="en-GB" dirty="0"/>
          </a:p>
        </p:txBody>
      </p:sp>
      <p:sp>
        <p:nvSpPr>
          <p:cNvPr id="2" name="Title 1"/>
          <p:cNvSpPr>
            <a:spLocks noGrp="1"/>
          </p:cNvSpPr>
          <p:nvPr>
            <p:ph type="title"/>
          </p:nvPr>
        </p:nvSpPr>
        <p:spPr>
          <a:xfrm>
            <a:off x="8206989" y="2484165"/>
            <a:ext cx="3566530" cy="2940025"/>
          </a:xfrm>
        </p:spPr>
        <p:txBody>
          <a:bodyPr>
            <a:noAutofit/>
          </a:bodyPr>
          <a:lstStyle>
            <a:lvl1pPr algn="r">
              <a:defRPr sz="4000">
                <a:solidFill>
                  <a:schemeClr val="bg2"/>
                </a:solidFill>
              </a:defRPr>
            </a:lvl1pPr>
          </a:lstStyle>
          <a:p>
            <a:r>
              <a:rPr lang="en-US" dirty="0"/>
              <a:t>Click to edit Master title style</a:t>
            </a:r>
            <a:endParaRPr lang="en-GB" dirty="0"/>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sp>
        <p:nvSpPr>
          <p:cNvPr id="4" name="Text Placeholder 3"/>
          <p:cNvSpPr>
            <a:spLocks noGrp="1"/>
          </p:cNvSpPr>
          <p:nvPr>
            <p:ph type="body" sz="quarter" idx="13"/>
          </p:nvPr>
        </p:nvSpPr>
        <p:spPr>
          <a:xfrm>
            <a:off x="467742" y="467941"/>
            <a:ext cx="2880841" cy="4608512"/>
          </a:xfrm>
        </p:spPr>
        <p:txBody>
          <a:bodyPr/>
          <a:lstStyle>
            <a:lvl1pPr>
              <a:defRPr sz="4000">
                <a:solidFill>
                  <a:schemeClr val="bg2"/>
                </a:solidFill>
              </a:defRPr>
            </a:lvl1pPr>
          </a:lstStyle>
          <a:p>
            <a:pPr lvl="0"/>
            <a:r>
              <a:rPr lang="en-US" dirty="0"/>
              <a:t>Edit Master text styles</a:t>
            </a:r>
          </a:p>
        </p:txBody>
      </p:sp>
      <p:sp>
        <p:nvSpPr>
          <p:cNvPr id="8"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8 – All rights reserved</a:t>
            </a:r>
            <a:endParaRPr lang="fr-FR" dirty="0"/>
          </a:p>
        </p:txBody>
      </p:sp>
    </p:spTree>
    <p:extLst>
      <p:ext uri="{BB962C8B-B14F-4D97-AF65-F5344CB8AC3E}">
        <p14:creationId xmlns:p14="http://schemas.microsoft.com/office/powerpoint/2010/main" val="100029185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ank you  Layou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68363" y="1992412"/>
            <a:ext cx="9433048" cy="2291953"/>
          </a:xfrm>
        </p:spPr>
        <p:txBody>
          <a:bodyPr>
            <a:noAutofit/>
          </a:bodyPr>
          <a:lstStyle>
            <a:lvl1pPr algn="ctr">
              <a:defRPr sz="7200" b="0">
                <a:solidFill>
                  <a:schemeClr val="bg2"/>
                </a:solidFill>
              </a:defRPr>
            </a:lvl1pPr>
          </a:lstStyle>
          <a:p>
            <a:r>
              <a:rPr lang="en-US" dirty="0"/>
              <a:t>Thank you!</a:t>
            </a:r>
            <a:endParaRPr lang="en-GB"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46000" y="5904000"/>
            <a:ext cx="881889" cy="540000"/>
          </a:xfrm>
          <a:prstGeom prst="rect">
            <a:avLst/>
          </a:prstGeom>
        </p:spPr>
      </p:pic>
      <p:grpSp>
        <p:nvGrpSpPr>
          <p:cNvPr id="6" name="Group 5">
            <a:extLst>
              <a:ext uri="{FF2B5EF4-FFF2-40B4-BE49-F238E27FC236}">
                <a16:creationId xmlns:a16="http://schemas.microsoft.com/office/drawing/2014/main" id="{571369E9-7576-4844-9AF1-4091A3CD6707}"/>
              </a:ext>
            </a:extLst>
          </p:cNvPr>
          <p:cNvGrpSpPr/>
          <p:nvPr userDrawn="1"/>
        </p:nvGrpSpPr>
        <p:grpSpPr>
          <a:xfrm>
            <a:off x="540271" y="5138376"/>
            <a:ext cx="6985350" cy="1152127"/>
            <a:chOff x="540271" y="5138376"/>
            <a:chExt cx="6985350" cy="1152127"/>
          </a:xfrm>
        </p:grpSpPr>
        <p:pic>
          <p:nvPicPr>
            <p:cNvPr id="11" name="Picture 10">
              <a:extLst>
                <a:ext uri="{FF2B5EF4-FFF2-40B4-BE49-F238E27FC236}">
                  <a16:creationId xmlns:a16="http://schemas.microsoft.com/office/drawing/2014/main" id="{5EDDA73C-C73A-4652-A24E-E83FF11427CC}"/>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38890" b="31479"/>
            <a:stretch/>
          </p:blipFill>
          <p:spPr>
            <a:xfrm>
              <a:off x="2160798" y="5138376"/>
              <a:ext cx="1799307" cy="1152127"/>
            </a:xfrm>
            <a:prstGeom prst="rect">
              <a:avLst/>
            </a:prstGeom>
          </p:spPr>
        </p:pic>
        <p:pic>
          <p:nvPicPr>
            <p:cNvPr id="16" name="Picture 1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36615" y="5336009"/>
              <a:ext cx="1830986" cy="878185"/>
            </a:xfrm>
            <a:prstGeom prst="rect">
              <a:avLst/>
            </a:prstGeom>
          </p:spPr>
        </p:pic>
        <p:pic>
          <p:nvPicPr>
            <p:cNvPr id="19" name="Picture 18"/>
            <p:cNvPicPr>
              <a:picLocks noChangeAspect="1"/>
            </p:cNvPicPr>
            <p:nvPr userDrawn="1"/>
          </p:nvPicPr>
          <p:blipFill rotWithShape="1">
            <a:blip r:embed="rId5" cstate="print">
              <a:extLst>
                <a:ext uri="{28A0092B-C50C-407E-A947-70E740481C1C}">
                  <a14:useLocalDpi xmlns:a14="http://schemas.microsoft.com/office/drawing/2010/main" val="0"/>
                </a:ext>
              </a:extLst>
            </a:blip>
            <a:srcRect t="72634" b="13682"/>
            <a:stretch/>
          </p:blipFill>
          <p:spPr>
            <a:xfrm>
              <a:off x="5724847" y="5508501"/>
              <a:ext cx="1800774" cy="532756"/>
            </a:xfrm>
            <a:prstGeom prst="rect">
              <a:avLst/>
            </a:prstGeom>
          </p:spPr>
        </p:pic>
        <p:pic>
          <p:nvPicPr>
            <p:cNvPr id="13" name="Picture 12">
              <a:extLst>
                <a:ext uri="{FF2B5EF4-FFF2-40B4-BE49-F238E27FC236}">
                  <a16:creationId xmlns:a16="http://schemas.microsoft.com/office/drawing/2014/main" id="{90512660-082C-42CB-A19F-B134F2B00D7F}"/>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18257" b="57669"/>
            <a:stretch/>
          </p:blipFill>
          <p:spPr>
            <a:xfrm>
              <a:off x="540271" y="5334196"/>
              <a:ext cx="1799307" cy="936104"/>
            </a:xfrm>
            <a:prstGeom prst="rect">
              <a:avLst/>
            </a:prstGeom>
          </p:spPr>
        </p:pic>
      </p:grpSp>
    </p:spTree>
    <p:extLst>
      <p:ext uri="{BB962C8B-B14F-4D97-AF65-F5344CB8AC3E}">
        <p14:creationId xmlns:p14="http://schemas.microsoft.com/office/powerpoint/2010/main" val="272517981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Chapter page">
    <p:bg>
      <p:bgPr>
        <a:solidFill>
          <a:schemeClr val="tx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8D4488D4-CD72-4342-818C-A7B16A1ED3CC}"/>
              </a:ext>
            </a:extLst>
          </p:cNvPr>
          <p:cNvGrpSpPr/>
          <p:nvPr userDrawn="1"/>
        </p:nvGrpSpPr>
        <p:grpSpPr>
          <a:xfrm>
            <a:off x="1150205" y="1940353"/>
            <a:ext cx="9869364" cy="2570196"/>
            <a:chOff x="1150205" y="1940353"/>
            <a:chExt cx="9869364" cy="2570196"/>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850106" y="1940353"/>
              <a:ext cx="2469563" cy="1512169"/>
            </a:xfrm>
            <a:prstGeom prst="rect">
              <a:avLst/>
            </a:prstGeom>
          </p:spPr>
        </p:pic>
        <p:sp>
          <p:nvSpPr>
            <p:cNvPr id="8" name="Title 1">
              <a:extLst>
                <a:ext uri="{FF2B5EF4-FFF2-40B4-BE49-F238E27FC236}">
                  <a16:creationId xmlns:a16="http://schemas.microsoft.com/office/drawing/2014/main" id="{03FCC5F1-E6C4-4992-A8CA-064E596743BA}"/>
                </a:ext>
              </a:extLst>
            </p:cNvPr>
            <p:cNvSpPr txBox="1">
              <a:spLocks/>
            </p:cNvSpPr>
            <p:nvPr userDrawn="1"/>
          </p:nvSpPr>
          <p:spPr>
            <a:xfrm>
              <a:off x="1150205" y="3574445"/>
              <a:ext cx="9869364" cy="936104"/>
            </a:xfrm>
            <a:prstGeom prst="rect">
              <a:avLst/>
            </a:prstGeom>
          </p:spPr>
          <p:txBody>
            <a:bodyPr vert="horz" lIns="91440" tIns="45720" rIns="91440" bIns="45720" rtlCol="0" anchor="t">
              <a:noAutofit/>
            </a:bodyPr>
            <a:lstStyle>
              <a:lvl1pPr algn="ctr" defTabSz="914400" rtl="0" eaLnBrk="1" latinLnBrk="0" hangingPunct="1">
                <a:spcBef>
                  <a:spcPct val="0"/>
                </a:spcBef>
                <a:buNone/>
                <a:defRPr sz="5400" kern="1200" spc="-130" baseline="0">
                  <a:solidFill>
                    <a:schemeClr val="bg2"/>
                  </a:solidFill>
                  <a:latin typeface="Arial" pitchFamily="34" charset="0"/>
                  <a:ea typeface="+mj-ea"/>
                  <a:cs typeface="Arial" pitchFamily="34" charset="0"/>
                </a:defRPr>
              </a:lvl1pPr>
            </a:lstStyle>
            <a:p>
              <a:pPr fontAlgn="auto">
                <a:spcAft>
                  <a:spcPts val="0"/>
                </a:spcAft>
              </a:pPr>
              <a:r>
                <a:rPr lang="en-US" sz="4400" dirty="0">
                  <a:solidFill>
                    <a:schemeClr val="accent2"/>
                  </a:solidFill>
                </a:rPr>
                <a:t>The better </a:t>
              </a:r>
              <a:r>
                <a:rPr lang="en-US" sz="4400" dirty="0"/>
                <a:t>shopping experience</a:t>
              </a:r>
              <a:endParaRPr lang="en-GB" sz="4400" dirty="0"/>
            </a:p>
          </p:txBody>
        </p:sp>
      </p:grpSp>
    </p:spTree>
    <p:extLst>
      <p:ext uri="{BB962C8B-B14F-4D97-AF65-F5344CB8AC3E}">
        <p14:creationId xmlns:p14="http://schemas.microsoft.com/office/powerpoint/2010/main" val="392972095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Chapter page">
    <p:bg>
      <p:bgPr>
        <a:solidFill>
          <a:schemeClr val="bg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571ECAF-F4EB-4754-ABB7-776B0AAB29B8}"/>
              </a:ext>
            </a:extLst>
          </p:cNvPr>
          <p:cNvGrpSpPr/>
          <p:nvPr userDrawn="1"/>
        </p:nvGrpSpPr>
        <p:grpSpPr>
          <a:xfrm>
            <a:off x="790165" y="1943897"/>
            <a:ext cx="10589444" cy="2628500"/>
            <a:chOff x="790165" y="1943897"/>
            <a:chExt cx="10589444" cy="2628500"/>
          </a:xfrm>
        </p:grpSpPr>
        <p:pic>
          <p:nvPicPr>
            <p:cNvPr id="4" name="Picture 3">
              <a:extLst>
                <a:ext uri="{FF2B5EF4-FFF2-40B4-BE49-F238E27FC236}">
                  <a16:creationId xmlns:a16="http://schemas.microsoft.com/office/drawing/2014/main" id="{4DB854F6-348C-4276-9E6E-C646FC6F5B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35058" y="1943897"/>
              <a:ext cx="2499659" cy="1528060"/>
            </a:xfrm>
            <a:prstGeom prst="rect">
              <a:avLst/>
            </a:prstGeom>
          </p:spPr>
        </p:pic>
        <p:sp>
          <p:nvSpPr>
            <p:cNvPr id="5" name="Title 1">
              <a:extLst>
                <a:ext uri="{FF2B5EF4-FFF2-40B4-BE49-F238E27FC236}">
                  <a16:creationId xmlns:a16="http://schemas.microsoft.com/office/drawing/2014/main" id="{656804A1-34B7-43F1-9302-DB91D0E3C5E5}"/>
                </a:ext>
              </a:extLst>
            </p:cNvPr>
            <p:cNvSpPr txBox="1">
              <a:spLocks/>
            </p:cNvSpPr>
            <p:nvPr userDrawn="1"/>
          </p:nvSpPr>
          <p:spPr>
            <a:xfrm>
              <a:off x="790165" y="3576588"/>
              <a:ext cx="10589444" cy="995809"/>
            </a:xfrm>
            <a:prstGeom prst="rect">
              <a:avLst/>
            </a:prstGeom>
          </p:spPr>
          <p:txBody>
            <a:bodyPr vert="horz" lIns="91440" tIns="45720" rIns="91440" bIns="45720" rtlCol="0" anchor="t">
              <a:noAutofit/>
            </a:bodyPr>
            <a:lstStyle>
              <a:lvl1pPr algn="ctr" defTabSz="914400" rtl="0" eaLnBrk="1" latinLnBrk="0" hangingPunct="1">
                <a:spcBef>
                  <a:spcPct val="0"/>
                </a:spcBef>
                <a:buNone/>
                <a:defRPr sz="5400" kern="1200" spc="-130" baseline="0">
                  <a:solidFill>
                    <a:schemeClr val="bg2"/>
                  </a:solidFill>
                  <a:latin typeface="Arial" pitchFamily="34" charset="0"/>
                  <a:ea typeface="+mj-ea"/>
                  <a:cs typeface="Arial" pitchFamily="34" charset="0"/>
                </a:defRPr>
              </a:lvl1pPr>
            </a:lstStyle>
            <a:p>
              <a:pPr fontAlgn="auto">
                <a:spcAft>
                  <a:spcPts val="0"/>
                </a:spcAft>
              </a:pPr>
              <a:r>
                <a:rPr lang="en-US" sz="4400" dirty="0">
                  <a:solidFill>
                    <a:schemeClr val="accent2"/>
                  </a:solidFill>
                </a:rPr>
                <a:t>The better </a:t>
              </a:r>
              <a:r>
                <a:rPr lang="en-US" sz="4400" dirty="0">
                  <a:solidFill>
                    <a:schemeClr val="tx2"/>
                  </a:solidFill>
                </a:rPr>
                <a:t>shopping experience</a:t>
              </a:r>
              <a:endParaRPr lang="en-GB" sz="4400" dirty="0">
                <a:solidFill>
                  <a:schemeClr val="tx2"/>
                </a:solidFill>
              </a:endParaRPr>
            </a:p>
          </p:txBody>
        </p:sp>
      </p:grpSp>
    </p:spTree>
    <p:extLst>
      <p:ext uri="{BB962C8B-B14F-4D97-AF65-F5344CB8AC3E}">
        <p14:creationId xmlns:p14="http://schemas.microsoft.com/office/powerpoint/2010/main" val="375982468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013" y="1584"/>
          <a:ext cx="2011" cy="1583"/>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013" y="1584"/>
                        <a:ext cx="2011" cy="1583"/>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sz="1995"/>
            </a:lvl1pPr>
          </a:lstStyle>
          <a:p>
            <a:r>
              <a:rPr lang="en-US" dirty="0"/>
              <a:t>Click to edit Master title style</a:t>
            </a:r>
            <a:endParaRPr lang="en-GB" dirty="0"/>
          </a:p>
        </p:txBody>
      </p:sp>
      <p:sp>
        <p:nvSpPr>
          <p:cNvPr id="5" name="Rectangle 15"/>
          <p:cNvSpPr>
            <a:spLocks noChangeArrowheads="1"/>
          </p:cNvSpPr>
          <p:nvPr/>
        </p:nvSpPr>
        <p:spPr bwMode="gray">
          <a:xfrm>
            <a:off x="10817812" y="6460524"/>
            <a:ext cx="760485" cy="16784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097" smtClean="0">
                <a:solidFill>
                  <a:srgbClr val="9BBB59"/>
                </a:solidFill>
                <a:cs typeface="Arial" charset="0"/>
              </a:rPr>
              <a:pPr algn="r" eaLnBrk="0" hangingPunct="0">
                <a:lnSpc>
                  <a:spcPct val="100000"/>
                </a:lnSpc>
              </a:pPr>
              <a:t>‹#›</a:t>
            </a:fld>
            <a:endParaRPr lang="en-GB" sz="1097" dirty="0">
              <a:solidFill>
                <a:srgbClr val="9BBB59"/>
              </a:solidFill>
              <a:cs typeface="Arial" charset="0"/>
            </a:endParaRPr>
          </a:p>
        </p:txBody>
      </p:sp>
      <p:sp>
        <p:nvSpPr>
          <p:cNvPr id="6" name="Rectangle 15"/>
          <p:cNvSpPr>
            <a:spLocks noChangeArrowheads="1"/>
          </p:cNvSpPr>
          <p:nvPr userDrawn="1"/>
        </p:nvSpPr>
        <p:spPr bwMode="gray">
          <a:xfrm>
            <a:off x="10817812" y="6460524"/>
            <a:ext cx="760485" cy="167847"/>
          </a:xfrm>
          <a:prstGeom prst="rect">
            <a:avLst/>
          </a:prstGeom>
          <a:noFill/>
          <a:ln>
            <a:noFill/>
          </a:ln>
          <a:effectLst/>
          <a:extLst>
            <a:ext uri="{909E8E84-426E-40DD-AFC4-6F175D3DCCD1}">
              <a14:hiddenFill xmlns:a14="http://schemas.microsoft.com/office/drawing/2010/main">
                <a:solidFill>
                  <a:srgbClr val="0057A6"/>
                </a:solidFill>
              </a14:hiddenFill>
            </a:ext>
            <a:ext uri="{91240B29-F687-4F45-9708-019B960494DF}">
              <a14:hiddenLine xmlns:a14="http://schemas.microsoft.com/office/drawing/2010/main" w="6350">
                <a:solidFill>
                  <a:srgbClr val="FF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algn="r" eaLnBrk="0" hangingPunct="0">
              <a:lnSpc>
                <a:spcPct val="100000"/>
              </a:lnSpc>
            </a:pPr>
            <a:fld id="{2306E996-13B1-4F09-8F6B-3AC86B81501F}" type="slidenum">
              <a:rPr lang="en-GB" sz="1097" smtClean="0">
                <a:solidFill>
                  <a:prstClr val="white"/>
                </a:solidFill>
                <a:cs typeface="Arial" charset="0"/>
              </a:rPr>
              <a:pPr algn="r" eaLnBrk="0" hangingPunct="0">
                <a:lnSpc>
                  <a:spcPct val="100000"/>
                </a:lnSpc>
              </a:pPr>
              <a:t>‹#›</a:t>
            </a:fld>
            <a:endParaRPr lang="en-GB" sz="1097" dirty="0">
              <a:solidFill>
                <a:prstClr val="white"/>
              </a:solidFill>
              <a:cs typeface="Arial" charset="0"/>
            </a:endParaRPr>
          </a:p>
        </p:txBody>
      </p:sp>
    </p:spTree>
    <p:extLst>
      <p:ext uri="{BB962C8B-B14F-4D97-AF65-F5344CB8AC3E}">
        <p14:creationId xmlns:p14="http://schemas.microsoft.com/office/powerpoint/2010/main" val="46174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ank you  Layou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368363" y="1992412"/>
            <a:ext cx="9433048" cy="2291953"/>
          </a:xfrm>
        </p:spPr>
        <p:txBody>
          <a:bodyPr>
            <a:noAutofit/>
          </a:bodyPr>
          <a:lstStyle>
            <a:lvl1pPr algn="ctr">
              <a:defRPr sz="9600" b="1">
                <a:solidFill>
                  <a:schemeClr val="bg2"/>
                </a:solidFill>
              </a:defRPr>
            </a:lvl1pPr>
          </a:lstStyle>
          <a:p>
            <a:r>
              <a:rPr lang="en-US" dirty="0"/>
              <a:t>Click to edit Master title style</a:t>
            </a:r>
            <a:endParaRPr lang="en-GB" dirty="0"/>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7" name="Text Placeholder 6"/>
          <p:cNvSpPr>
            <a:spLocks noGrp="1"/>
          </p:cNvSpPr>
          <p:nvPr>
            <p:ph type="body" sz="quarter" idx="10"/>
          </p:nvPr>
        </p:nvSpPr>
        <p:spPr>
          <a:xfrm>
            <a:off x="468957" y="6156127"/>
            <a:ext cx="4895850" cy="287873"/>
          </a:xfrm>
        </p:spPr>
        <p:txBody>
          <a:bodyPr>
            <a:normAutofit/>
          </a:bodyPr>
          <a:lstStyle>
            <a:lvl1pPr>
              <a:defRPr sz="1300">
                <a:solidFill>
                  <a:schemeClr val="bg2"/>
                </a:solidFill>
              </a:defRPr>
            </a:lvl1pPr>
          </a:lstStyle>
          <a:p>
            <a:pPr lvl="0"/>
            <a:r>
              <a:rPr lang="en-US" dirty="0"/>
              <a:t>Click to edit Master text styles</a:t>
            </a: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420591" y="5278388"/>
            <a:ext cx="1830986" cy="878185"/>
          </a:xfrm>
          <a:prstGeom prst="rect">
            <a:avLst/>
          </a:prstGeom>
        </p:spPr>
      </p:pic>
      <p:pic>
        <p:nvPicPr>
          <p:cNvPr id="11" name="Picture 10"/>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764407" y="5295815"/>
            <a:ext cx="1584176" cy="878185"/>
          </a:xfrm>
          <a:prstGeom prst="rect">
            <a:avLst/>
          </a:prstGeom>
        </p:spPr>
      </p:pic>
      <p:pic>
        <p:nvPicPr>
          <p:cNvPr id="12" name="Picture 1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24247" y="5167007"/>
            <a:ext cx="1584176" cy="878185"/>
          </a:xfrm>
          <a:prstGeom prst="rect">
            <a:avLst/>
          </a:prstGeom>
        </p:spPr>
      </p:pic>
      <p:pic>
        <p:nvPicPr>
          <p:cNvPr id="13" name="Picture 12"/>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5439618" y="5213799"/>
            <a:ext cx="1941413" cy="1006918"/>
          </a:xfrm>
          <a:prstGeom prst="rect">
            <a:avLst/>
          </a:prstGeom>
        </p:spPr>
      </p:pic>
    </p:spTree>
    <p:extLst>
      <p:ext uri="{BB962C8B-B14F-4D97-AF65-F5344CB8AC3E}">
        <p14:creationId xmlns:p14="http://schemas.microsoft.com/office/powerpoint/2010/main" val="254877209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ntroduction presentation">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5"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p>
            <a:endParaRPr lang="en-GB"/>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44155" y="5904252"/>
            <a:ext cx="885348" cy="540353"/>
          </a:xfrm>
          <a:prstGeom prst="rect">
            <a:avLst/>
          </a:prstGeom>
        </p:spPr>
      </p:pic>
      <p:sp>
        <p:nvSpPr>
          <p:cNvPr id="7" name="Text Placeholder 6"/>
          <p:cNvSpPr>
            <a:spLocks noGrp="1"/>
          </p:cNvSpPr>
          <p:nvPr>
            <p:ph type="body" sz="quarter" idx="12"/>
          </p:nvPr>
        </p:nvSpPr>
        <p:spPr>
          <a:xfrm>
            <a:off x="5148783" y="2339355"/>
            <a:ext cx="5822950" cy="2305050"/>
          </a:xfrm>
        </p:spPr>
        <p:txBody>
          <a:bodyPr/>
          <a:lstStyle>
            <a:lvl1pPr>
              <a:defRPr sz="4000">
                <a:solidFill>
                  <a:schemeClr val="tx2"/>
                </a:solidFill>
              </a:defRPr>
            </a:lvl1pPr>
            <a:lvl2pPr>
              <a:defRPr b="0"/>
            </a:lvl2pPr>
          </a:lstStyle>
          <a:p>
            <a:pPr lvl="0"/>
            <a:r>
              <a:rPr lang="en-US"/>
              <a:t>Click to edit Master text styles</a:t>
            </a:r>
          </a:p>
          <a:p>
            <a:pPr lvl="1"/>
            <a:r>
              <a:rPr lang="en-US"/>
              <a:t>Second level</a:t>
            </a:r>
          </a:p>
        </p:txBody>
      </p:sp>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7 – All rights reserved</a:t>
            </a:r>
            <a:endParaRPr lang="fr-FR"/>
          </a:p>
        </p:txBody>
      </p:sp>
    </p:spTree>
    <p:extLst>
      <p:ext uri="{BB962C8B-B14F-4D97-AF65-F5344CB8AC3E}">
        <p14:creationId xmlns:p14="http://schemas.microsoft.com/office/powerpoint/2010/main" val="137869803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tandard page">
    <p:spTree>
      <p:nvGrpSpPr>
        <p:cNvPr id="1" name=""/>
        <p:cNvGrpSpPr/>
        <p:nvPr/>
      </p:nvGrpSpPr>
      <p:grpSpPr>
        <a:xfrm>
          <a:off x="0" y="0"/>
          <a:ext cx="0" cy="0"/>
          <a:chOff x="0" y="0"/>
          <a:chExt cx="0" cy="0"/>
        </a:xfrm>
      </p:grpSpPr>
      <p:sp>
        <p:nvSpPr>
          <p:cNvPr id="2" name="Title 1"/>
          <p:cNvSpPr>
            <a:spLocks noGrp="1"/>
          </p:cNvSpPr>
          <p:nvPr>
            <p:ph type="title"/>
          </p:nvPr>
        </p:nvSpPr>
        <p:spPr>
          <a:xfrm>
            <a:off x="972319" y="408236"/>
            <a:ext cx="10297144" cy="1139825"/>
          </a:xfrm>
        </p:spPr>
        <p:txBody>
          <a:bodyPr/>
          <a:lstStyle/>
          <a:p>
            <a:r>
              <a:rPr lang="en-US"/>
              <a:t>Click to edit Master title style</a:t>
            </a:r>
            <a:endParaRPr lang="en-GB"/>
          </a:p>
        </p:txBody>
      </p:sp>
      <p:sp>
        <p:nvSpPr>
          <p:cNvPr id="3" name="Slide Number Placeholder 2"/>
          <p:cNvSpPr>
            <a:spLocks noGrp="1"/>
          </p:cNvSpPr>
          <p:nvPr>
            <p:ph type="sldNum" sz="quarter" idx="10"/>
          </p:nvPr>
        </p:nvSpPr>
        <p:spPr>
          <a:xfrm>
            <a:off x="468263" y="6369099"/>
            <a:ext cx="503287" cy="363538"/>
          </a:xfrm>
        </p:spPr>
        <p:txBody>
          <a:bodyPr/>
          <a:lstStyle/>
          <a:p>
            <a:fld id="{C864BB8D-94B4-466C-94BF-D114C83BF951}" type="slidenum">
              <a:rPr lang="en-GB" smtClean="0"/>
              <a:pPr/>
              <a:t>‹#›</a:t>
            </a:fld>
            <a:endParaRPr lang="en-GB"/>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44155" y="5904252"/>
            <a:ext cx="885348" cy="540353"/>
          </a:xfrm>
          <a:prstGeom prst="rect">
            <a:avLst/>
          </a:prstGeom>
        </p:spPr>
      </p:pic>
      <p:sp>
        <p:nvSpPr>
          <p:cNvPr id="7" name="Text Placeholder 6"/>
          <p:cNvSpPr>
            <a:spLocks noGrp="1"/>
          </p:cNvSpPr>
          <p:nvPr>
            <p:ph type="body" sz="quarter" idx="11"/>
          </p:nvPr>
        </p:nvSpPr>
        <p:spPr>
          <a:xfrm>
            <a:off x="971550" y="2001600"/>
            <a:ext cx="10297913" cy="3959671"/>
          </a:xfrm>
        </p:spPr>
        <p:txBody>
          <a:bodyPr/>
          <a:lstStyle>
            <a:lvl2pPr marL="174625" indent="-174625">
              <a:defRPr b="0"/>
            </a:lvl2pPr>
            <a:lvl3pPr marL="446088" indent="-182563">
              <a:defRPr/>
            </a:lvl3pPr>
          </a:lstStyle>
          <a:p>
            <a:pPr lvl="0"/>
            <a:r>
              <a:rPr lang="en-US"/>
              <a:t>Click to edit Master text styles</a:t>
            </a:r>
          </a:p>
          <a:p>
            <a:pPr lvl="1"/>
            <a:r>
              <a:rPr lang="en-US"/>
              <a:t>Second level</a:t>
            </a:r>
          </a:p>
          <a:p>
            <a:pPr lvl="2"/>
            <a:r>
              <a:rPr lang="en-US"/>
              <a:t>Third level</a:t>
            </a:r>
          </a:p>
        </p:txBody>
      </p:sp>
      <p:sp>
        <p:nvSpPr>
          <p:cNvPr id="9"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7 – All rights reserved</a:t>
            </a:r>
            <a:endParaRPr lang="fr-FR"/>
          </a:p>
        </p:txBody>
      </p:sp>
    </p:spTree>
    <p:extLst>
      <p:ext uri="{BB962C8B-B14F-4D97-AF65-F5344CB8AC3E}">
        <p14:creationId xmlns:p14="http://schemas.microsoft.com/office/powerpoint/2010/main" val="206988808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lose ups pict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4" name="Picture Placeholder 4"/>
          <p:cNvSpPr>
            <a:spLocks noGrp="1"/>
          </p:cNvSpPr>
          <p:nvPr>
            <p:ph type="pic" sz="quarter" idx="12"/>
          </p:nvPr>
        </p:nvSpPr>
        <p:spPr>
          <a:xfrm>
            <a:off x="5051684" y="1680210"/>
            <a:ext cx="3444632" cy="3180218"/>
          </a:xfrm>
        </p:spPr>
        <p:txBody>
          <a:bodyPr/>
          <a:lstStyle/>
          <a:p>
            <a:endParaRPr lang="fr-FR"/>
          </a:p>
        </p:txBody>
      </p:sp>
      <p:sp>
        <p:nvSpPr>
          <p:cNvPr id="5" name="Picture Placeholder 4"/>
          <p:cNvSpPr>
            <a:spLocks noGrp="1"/>
          </p:cNvSpPr>
          <p:nvPr>
            <p:ph type="pic" sz="quarter" idx="13"/>
          </p:nvPr>
        </p:nvSpPr>
        <p:spPr>
          <a:xfrm>
            <a:off x="8725143" y="1680210"/>
            <a:ext cx="3444632" cy="3180218"/>
          </a:xfrm>
        </p:spPr>
        <p:txBody>
          <a:bodyPr/>
          <a:lstStyle/>
          <a:p>
            <a:endParaRPr lang="fr-FR"/>
          </a:p>
        </p:txBody>
      </p:sp>
      <p:sp>
        <p:nvSpPr>
          <p:cNvPr id="6" name="Text Placeholder 15"/>
          <p:cNvSpPr>
            <a:spLocks noGrp="1"/>
          </p:cNvSpPr>
          <p:nvPr>
            <p:ph type="body" sz="quarter" idx="17"/>
          </p:nvPr>
        </p:nvSpPr>
        <p:spPr>
          <a:xfrm>
            <a:off x="1188343" y="5076230"/>
            <a:ext cx="3634482" cy="360263"/>
          </a:xfrm>
        </p:spPr>
        <p:txBody>
          <a:bodyPr>
            <a:noAutofit/>
          </a:bodyPr>
          <a:lstStyle>
            <a:lvl1pPr>
              <a:defRPr sz="1600"/>
            </a:lvl1pPr>
          </a:lstStyle>
          <a:p>
            <a:pPr lvl="0"/>
            <a:r>
              <a:rPr lang="en-US"/>
              <a:t>Edit Master text styles</a:t>
            </a:r>
          </a:p>
        </p:txBody>
      </p:sp>
      <p:sp>
        <p:nvSpPr>
          <p:cNvPr id="7" name="Text Placeholder 15"/>
          <p:cNvSpPr>
            <a:spLocks noGrp="1"/>
          </p:cNvSpPr>
          <p:nvPr>
            <p:ph type="body" sz="quarter" idx="18"/>
          </p:nvPr>
        </p:nvSpPr>
        <p:spPr>
          <a:xfrm>
            <a:off x="5042822" y="5076230"/>
            <a:ext cx="3444907" cy="360263"/>
          </a:xfrm>
        </p:spPr>
        <p:txBody>
          <a:bodyPr>
            <a:noAutofit/>
          </a:bodyPr>
          <a:lstStyle>
            <a:lvl1pPr>
              <a:defRPr sz="1600"/>
            </a:lvl1pPr>
          </a:lstStyle>
          <a:p>
            <a:pPr lvl="0"/>
            <a:r>
              <a:rPr lang="en-US"/>
              <a:t>Edit Master text styles</a:t>
            </a:r>
          </a:p>
        </p:txBody>
      </p:sp>
      <p:sp>
        <p:nvSpPr>
          <p:cNvPr id="8" name="Text Placeholder 15"/>
          <p:cNvSpPr>
            <a:spLocks noGrp="1"/>
          </p:cNvSpPr>
          <p:nvPr>
            <p:ph type="body" sz="quarter" idx="19"/>
          </p:nvPr>
        </p:nvSpPr>
        <p:spPr>
          <a:xfrm>
            <a:off x="8707694" y="5076230"/>
            <a:ext cx="3444907" cy="360263"/>
          </a:xfrm>
        </p:spPr>
        <p:txBody>
          <a:bodyPr>
            <a:noAutofit/>
          </a:bodyPr>
          <a:lstStyle>
            <a:lvl1pPr>
              <a:defRPr sz="1600"/>
            </a:lvl1pPr>
          </a:lstStyle>
          <a:p>
            <a:pPr lvl="0"/>
            <a:r>
              <a:rPr lang="en-US"/>
              <a:t>Edit Master text styles</a:t>
            </a:r>
          </a:p>
        </p:txBody>
      </p:sp>
      <p:sp>
        <p:nvSpPr>
          <p:cNvPr id="9" name="Picture Placeholder 28"/>
          <p:cNvSpPr>
            <a:spLocks noGrp="1"/>
          </p:cNvSpPr>
          <p:nvPr>
            <p:ph type="pic" sz="quarter" idx="20"/>
          </p:nvPr>
        </p:nvSpPr>
        <p:spPr>
          <a:xfrm>
            <a:off x="1239053" y="1680210"/>
            <a:ext cx="3583772" cy="3161274"/>
          </a:xfrm>
          <a:custGeom>
            <a:avLst/>
            <a:gdLst>
              <a:gd name="connsiteX0" fmla="*/ 0 w 3444875"/>
              <a:gd name="connsiteY0" fmla="*/ 3149699 h 3149699"/>
              <a:gd name="connsiteX1" fmla="*/ 787425 w 3444875"/>
              <a:gd name="connsiteY1" fmla="*/ 0 h 3149699"/>
              <a:gd name="connsiteX2" fmla="*/ 3444875 w 3444875"/>
              <a:gd name="connsiteY2" fmla="*/ 0 h 3149699"/>
              <a:gd name="connsiteX3" fmla="*/ 2657450 w 3444875"/>
              <a:gd name="connsiteY3" fmla="*/ 3149699 h 3149699"/>
              <a:gd name="connsiteX4" fmla="*/ 0 w 3444875"/>
              <a:gd name="connsiteY4" fmla="*/ 3149699 h 3149699"/>
              <a:gd name="connsiteX0" fmla="*/ 0 w 3444875"/>
              <a:gd name="connsiteY0" fmla="*/ 3149699 h 3161274"/>
              <a:gd name="connsiteX1" fmla="*/ 787425 w 3444875"/>
              <a:gd name="connsiteY1" fmla="*/ 0 h 3161274"/>
              <a:gd name="connsiteX2" fmla="*/ 3444875 w 3444875"/>
              <a:gd name="connsiteY2" fmla="*/ 0 h 3161274"/>
              <a:gd name="connsiteX3" fmla="*/ 3375081 w 3444875"/>
              <a:gd name="connsiteY3" fmla="*/ 3161274 h 3161274"/>
              <a:gd name="connsiteX4" fmla="*/ 0 w 3444875"/>
              <a:gd name="connsiteY4" fmla="*/ 3149699 h 3161274"/>
              <a:gd name="connsiteX0" fmla="*/ 0 w 3444875"/>
              <a:gd name="connsiteY0" fmla="*/ 3149699 h 3161274"/>
              <a:gd name="connsiteX1" fmla="*/ 787425 w 3444875"/>
              <a:gd name="connsiteY1" fmla="*/ 0 h 3161274"/>
              <a:gd name="connsiteX2" fmla="*/ 3444875 w 3444875"/>
              <a:gd name="connsiteY2" fmla="*/ 0 h 3161274"/>
              <a:gd name="connsiteX3" fmla="*/ 3432955 w 3444875"/>
              <a:gd name="connsiteY3" fmla="*/ 3161274 h 3161274"/>
              <a:gd name="connsiteX4" fmla="*/ 0 w 3444875"/>
              <a:gd name="connsiteY4" fmla="*/ 3149699 h 3161274"/>
              <a:gd name="connsiteX0" fmla="*/ 0 w 3583772"/>
              <a:gd name="connsiteY0" fmla="*/ 3161274 h 3161274"/>
              <a:gd name="connsiteX1" fmla="*/ 926322 w 3583772"/>
              <a:gd name="connsiteY1" fmla="*/ 0 h 3161274"/>
              <a:gd name="connsiteX2" fmla="*/ 3583772 w 3583772"/>
              <a:gd name="connsiteY2" fmla="*/ 0 h 3161274"/>
              <a:gd name="connsiteX3" fmla="*/ 3571852 w 3583772"/>
              <a:gd name="connsiteY3" fmla="*/ 3161274 h 3161274"/>
              <a:gd name="connsiteX4" fmla="*/ 0 w 3583772"/>
              <a:gd name="connsiteY4" fmla="*/ 3161274 h 3161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3772" h="3161274">
                <a:moveTo>
                  <a:pt x="0" y="3161274"/>
                </a:moveTo>
                <a:lnTo>
                  <a:pt x="926322" y="0"/>
                </a:lnTo>
                <a:lnTo>
                  <a:pt x="3583772" y="0"/>
                </a:lnTo>
                <a:cubicBezTo>
                  <a:pt x="3579799" y="1053758"/>
                  <a:pt x="3575825" y="2107516"/>
                  <a:pt x="3571852" y="3161274"/>
                </a:cubicBezTo>
                <a:lnTo>
                  <a:pt x="0" y="3161274"/>
                </a:lnTo>
                <a:close/>
              </a:path>
            </a:pathLst>
          </a:custGeom>
          <a:noFill/>
        </p:spPr>
        <p:txBody>
          <a:bodyPr/>
          <a:lstStyle/>
          <a:p>
            <a:endParaRPr lang="fr-FR"/>
          </a:p>
        </p:txBody>
      </p:sp>
      <p:sp>
        <p:nvSpPr>
          <p:cNvPr id="11"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7 – All rights reserved</a:t>
            </a:r>
            <a:endParaRPr lang="fr-FR"/>
          </a:p>
        </p:txBody>
      </p:sp>
    </p:spTree>
    <p:extLst>
      <p:ext uri="{BB962C8B-B14F-4D97-AF65-F5344CB8AC3E}">
        <p14:creationId xmlns:p14="http://schemas.microsoft.com/office/powerpoint/2010/main" val="40956731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columns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sp>
        <p:nvSpPr>
          <p:cNvPr id="7" name="Content Placeholder 6"/>
          <p:cNvSpPr>
            <a:spLocks noGrp="1"/>
          </p:cNvSpPr>
          <p:nvPr>
            <p:ph sz="quarter" idx="11"/>
          </p:nvPr>
        </p:nvSpPr>
        <p:spPr>
          <a:xfrm>
            <a:off x="972319" y="1692077"/>
            <a:ext cx="4680520" cy="3888432"/>
          </a:xfrm>
        </p:spPr>
        <p:txBody>
          <a:bodyPr/>
          <a:lstStyle>
            <a:lvl2pPr>
              <a:defRPr b="0"/>
            </a:lvl2pPr>
          </a:lstStyle>
          <a:p>
            <a:pPr lvl="0"/>
            <a:r>
              <a:rPr lang="en-US"/>
              <a:t>Click to edit Master text styles</a:t>
            </a:r>
          </a:p>
          <a:p>
            <a:pPr lvl="1"/>
            <a:r>
              <a:rPr lang="en-US"/>
              <a:t>Second level</a:t>
            </a:r>
          </a:p>
          <a:p>
            <a:pPr lvl="2"/>
            <a:r>
              <a:rPr lang="en-US"/>
              <a:t>Third level</a:t>
            </a:r>
          </a:p>
        </p:txBody>
      </p:sp>
      <p:sp>
        <p:nvSpPr>
          <p:cNvPr id="9" name="Content Placeholder 8"/>
          <p:cNvSpPr>
            <a:spLocks noGrp="1"/>
          </p:cNvSpPr>
          <p:nvPr>
            <p:ph sz="quarter" idx="12"/>
          </p:nvPr>
        </p:nvSpPr>
        <p:spPr>
          <a:xfrm>
            <a:off x="6228903" y="1692077"/>
            <a:ext cx="5040312" cy="3888234"/>
          </a:xfrm>
        </p:spPr>
        <p:txBody>
          <a:bodyPr/>
          <a:lstStyle>
            <a:lvl2pPr>
              <a:defRPr b="0"/>
            </a:lvl2pPr>
          </a:lstStyle>
          <a:p>
            <a:pPr lvl="0"/>
            <a:r>
              <a:rPr lang="en-US"/>
              <a:t>Click to edit Master text styles</a:t>
            </a:r>
          </a:p>
          <a:p>
            <a:pPr lvl="1"/>
            <a:r>
              <a:rPr lang="en-US"/>
              <a:t>Second level</a:t>
            </a:r>
          </a:p>
          <a:p>
            <a:pPr lvl="2"/>
            <a:r>
              <a:rPr lang="en-US"/>
              <a:t>Third level</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44155" y="5904252"/>
            <a:ext cx="885348" cy="540353"/>
          </a:xfrm>
          <a:prstGeom prst="rect">
            <a:avLst/>
          </a:prstGeom>
        </p:spPr>
      </p:pic>
      <p:sp>
        <p:nvSpPr>
          <p:cNvPr id="10"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7 – All rights reserved</a:t>
            </a:r>
            <a:endParaRPr lang="fr-FR"/>
          </a:p>
        </p:txBody>
      </p:sp>
    </p:spTree>
    <p:extLst>
      <p:ext uri="{BB962C8B-B14F-4D97-AF65-F5344CB8AC3E}">
        <p14:creationId xmlns:p14="http://schemas.microsoft.com/office/powerpoint/2010/main" val="428591544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hapter pa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90165" y="1908101"/>
            <a:ext cx="10589444" cy="995809"/>
          </a:xfrm>
        </p:spPr>
        <p:txBody>
          <a:bodyPr>
            <a:noAutofit/>
          </a:bodyPr>
          <a:lstStyle>
            <a:lvl1pPr algn="ctr">
              <a:defRPr sz="5400">
                <a:solidFill>
                  <a:schemeClr val="bg2"/>
                </a:solidFill>
              </a:defRPr>
            </a:lvl1pPr>
          </a:lstStyle>
          <a:p>
            <a:r>
              <a:rPr lang="en-US"/>
              <a:t>Click to edit Master title sty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7"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7 – All rights reserved</a:t>
            </a:r>
            <a:endParaRPr lang="fr-FR"/>
          </a:p>
        </p:txBody>
      </p:sp>
    </p:spTree>
    <p:extLst>
      <p:ext uri="{BB962C8B-B14F-4D97-AF65-F5344CB8AC3E}">
        <p14:creationId xmlns:p14="http://schemas.microsoft.com/office/powerpoint/2010/main" val="74733796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framed picture + coloured slide">
    <p:bg>
      <p:bgPr>
        <a:solidFill>
          <a:schemeClr val="tx2"/>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lvl1pPr>
              <a:defRPr>
                <a:solidFill>
                  <a:schemeClr val="bg1"/>
                </a:solidFill>
              </a:defRPr>
            </a:lvl1pPr>
          </a:lstStyle>
          <a:p>
            <a:endParaRPr lang="en-GB"/>
          </a:p>
        </p:txBody>
      </p:sp>
      <p:sp>
        <p:nvSpPr>
          <p:cNvPr id="2" name="Title 1"/>
          <p:cNvSpPr>
            <a:spLocks noGrp="1"/>
          </p:cNvSpPr>
          <p:nvPr>
            <p:ph type="title"/>
          </p:nvPr>
        </p:nvSpPr>
        <p:spPr>
          <a:xfrm>
            <a:off x="5724847" y="1980109"/>
            <a:ext cx="5654762" cy="2940025"/>
          </a:xfrm>
        </p:spPr>
        <p:txBody>
          <a:bodyPr>
            <a:noAutofit/>
          </a:bodyPr>
          <a:lstStyle>
            <a:lvl1pPr algn="ctr">
              <a:defRPr sz="4000">
                <a:solidFill>
                  <a:schemeClr val="bg2"/>
                </a:solidFill>
              </a:defRPr>
            </a:lvl1pPr>
          </a:lstStyle>
          <a:p>
            <a:r>
              <a:rPr lang="en-US"/>
              <a:t>Click to edit Master title sty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8"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7 – All rights reserved</a:t>
            </a:r>
            <a:endParaRPr lang="fr-FR"/>
          </a:p>
        </p:txBody>
      </p:sp>
    </p:spTree>
    <p:extLst>
      <p:ext uri="{BB962C8B-B14F-4D97-AF65-F5344CB8AC3E}">
        <p14:creationId xmlns:p14="http://schemas.microsoft.com/office/powerpoint/2010/main" val="205415836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loured 5th element and background picture">
    <p:bg>
      <p:bgPr>
        <a:solidFill>
          <a:schemeClr val="tx2"/>
        </a:solidFill>
        <a:effectLst/>
      </p:bgPr>
    </p:bg>
    <p:spTree>
      <p:nvGrpSpPr>
        <p:cNvPr id="1" name=""/>
        <p:cNvGrpSpPr/>
        <p:nvPr/>
      </p:nvGrpSpPr>
      <p:grpSpPr>
        <a:xfrm>
          <a:off x="0" y="0"/>
          <a:ext cx="0" cy="0"/>
          <a:chOff x="0" y="0"/>
          <a:chExt cx="0" cy="0"/>
        </a:xfrm>
      </p:grpSpPr>
      <p:sp>
        <p:nvSpPr>
          <p:cNvPr id="7" name="Picture Placeholder 4"/>
          <p:cNvSpPr>
            <a:spLocks noGrp="1"/>
          </p:cNvSpPr>
          <p:nvPr>
            <p:ph type="pic" sz="quarter" idx="11"/>
          </p:nvPr>
        </p:nvSpPr>
        <p:spPr>
          <a:xfrm>
            <a:off x="0" y="0"/>
            <a:ext cx="5580063" cy="6851424"/>
          </a:xfrm>
          <a:custGeom>
            <a:avLst/>
            <a:gdLst>
              <a:gd name="connsiteX0" fmla="*/ 0 w 5580063"/>
              <a:gd name="connsiteY0" fmla="*/ 0 h 6840538"/>
              <a:gd name="connsiteX1" fmla="*/ 5580063 w 5580063"/>
              <a:gd name="connsiteY1" fmla="*/ 0 h 6840538"/>
              <a:gd name="connsiteX2" fmla="*/ 5580063 w 5580063"/>
              <a:gd name="connsiteY2" fmla="*/ 6840538 h 6840538"/>
              <a:gd name="connsiteX3" fmla="*/ 0 w 5580063"/>
              <a:gd name="connsiteY3" fmla="*/ 6840538 h 6840538"/>
              <a:gd name="connsiteX4" fmla="*/ 0 w 5580063"/>
              <a:gd name="connsiteY4" fmla="*/ 0 h 6840538"/>
              <a:gd name="connsiteX0" fmla="*/ 0 w 5580063"/>
              <a:gd name="connsiteY0" fmla="*/ 0 h 6840538"/>
              <a:gd name="connsiteX1" fmla="*/ 5580063 w 5580063"/>
              <a:gd name="connsiteY1" fmla="*/ 0 h 6840538"/>
              <a:gd name="connsiteX2" fmla="*/ 3130778 w 5580063"/>
              <a:gd name="connsiteY2" fmla="*/ 6840538 h 6840538"/>
              <a:gd name="connsiteX3" fmla="*/ 0 w 5580063"/>
              <a:gd name="connsiteY3" fmla="*/ 6840538 h 6840538"/>
              <a:gd name="connsiteX4" fmla="*/ 0 w 5580063"/>
              <a:gd name="connsiteY4" fmla="*/ 0 h 6840538"/>
              <a:gd name="connsiteX0" fmla="*/ 0 w 5580063"/>
              <a:gd name="connsiteY0" fmla="*/ 0 h 6851424"/>
              <a:gd name="connsiteX1" fmla="*/ 5580063 w 5580063"/>
              <a:gd name="connsiteY1" fmla="*/ 0 h 6851424"/>
              <a:gd name="connsiteX2" fmla="*/ 3402920 w 5580063"/>
              <a:gd name="connsiteY2" fmla="*/ 6851424 h 6851424"/>
              <a:gd name="connsiteX3" fmla="*/ 0 w 5580063"/>
              <a:gd name="connsiteY3" fmla="*/ 6840538 h 6851424"/>
              <a:gd name="connsiteX4" fmla="*/ 0 w 5580063"/>
              <a:gd name="connsiteY4" fmla="*/ 0 h 6851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0063" h="6851424">
                <a:moveTo>
                  <a:pt x="0" y="0"/>
                </a:moveTo>
                <a:lnTo>
                  <a:pt x="5580063" y="0"/>
                </a:lnTo>
                <a:lnTo>
                  <a:pt x="3402920" y="6851424"/>
                </a:lnTo>
                <a:lnTo>
                  <a:pt x="0" y="6840538"/>
                </a:lnTo>
                <a:lnTo>
                  <a:pt x="0" y="0"/>
                </a:lnTo>
                <a:close/>
              </a:path>
            </a:pathLst>
          </a:custGeom>
        </p:spPr>
        <p:txBody>
          <a:bodyPr/>
          <a:lstStyle/>
          <a:p>
            <a:endParaRPr lang="en-GB"/>
          </a:p>
        </p:txBody>
      </p:sp>
      <p:sp>
        <p:nvSpPr>
          <p:cNvPr id="2" name="Title 1"/>
          <p:cNvSpPr>
            <a:spLocks noGrp="1"/>
          </p:cNvSpPr>
          <p:nvPr>
            <p:ph type="title"/>
          </p:nvPr>
        </p:nvSpPr>
        <p:spPr>
          <a:xfrm>
            <a:off x="8206989" y="2484165"/>
            <a:ext cx="3566530" cy="2940025"/>
          </a:xfrm>
        </p:spPr>
        <p:txBody>
          <a:bodyPr>
            <a:noAutofit/>
          </a:bodyPr>
          <a:lstStyle>
            <a:lvl1pPr algn="r">
              <a:defRPr sz="4000">
                <a:solidFill>
                  <a:schemeClr val="bg2"/>
                </a:solidFill>
              </a:defRPr>
            </a:lvl1pPr>
          </a:lstStyle>
          <a:p>
            <a:r>
              <a:rPr lang="en-US"/>
              <a:t>Click to edit Master title styl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C864BB8D-94B4-466C-94BF-D114C83BF951}" type="slidenum">
              <a:rPr lang="en-GB" smtClean="0"/>
              <a:pPr/>
              <a:t>‹#›</a:t>
            </a:fld>
            <a:endParaRPr lang="en-GB"/>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4" name="Text Placeholder 3"/>
          <p:cNvSpPr>
            <a:spLocks noGrp="1"/>
          </p:cNvSpPr>
          <p:nvPr>
            <p:ph type="body" sz="quarter" idx="13"/>
          </p:nvPr>
        </p:nvSpPr>
        <p:spPr>
          <a:xfrm>
            <a:off x="467742" y="467941"/>
            <a:ext cx="2880841" cy="4608512"/>
          </a:xfrm>
        </p:spPr>
        <p:txBody>
          <a:bodyPr/>
          <a:lstStyle>
            <a:lvl1pPr>
              <a:defRPr sz="4000">
                <a:solidFill>
                  <a:schemeClr val="bg2"/>
                </a:solidFill>
              </a:defRPr>
            </a:lvl1pPr>
          </a:lstStyle>
          <a:p>
            <a:pPr lvl="0"/>
            <a:r>
              <a:rPr lang="en-US"/>
              <a:t>Edit Master text styles</a:t>
            </a:r>
          </a:p>
        </p:txBody>
      </p:sp>
      <p:sp>
        <p:nvSpPr>
          <p:cNvPr id="8"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7 – All rights reserved</a:t>
            </a:r>
            <a:endParaRPr lang="fr-FR"/>
          </a:p>
        </p:txBody>
      </p:sp>
    </p:spTree>
    <p:extLst>
      <p:ext uri="{BB962C8B-B14F-4D97-AF65-F5344CB8AC3E}">
        <p14:creationId xmlns:p14="http://schemas.microsoft.com/office/powerpoint/2010/main" val="405058698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ackground picture white logo">
    <p:spTree>
      <p:nvGrpSpPr>
        <p:cNvPr id="1" name=""/>
        <p:cNvGrpSpPr/>
        <p:nvPr/>
      </p:nvGrpSpPr>
      <p:grpSpPr>
        <a:xfrm>
          <a:off x="0" y="0"/>
          <a:ext cx="0" cy="0"/>
          <a:chOff x="0" y="0"/>
          <a:chExt cx="0" cy="0"/>
        </a:xfrm>
      </p:grpSpPr>
      <p:sp>
        <p:nvSpPr>
          <p:cNvPr id="2" name="Title 1"/>
          <p:cNvSpPr>
            <a:spLocks noGrp="1"/>
          </p:cNvSpPr>
          <p:nvPr>
            <p:ph type="title"/>
          </p:nvPr>
        </p:nvSpPr>
        <p:spPr>
          <a:xfrm>
            <a:off x="936316" y="1992412"/>
            <a:ext cx="10297144" cy="1139825"/>
          </a:xfrm>
        </p:spPr>
        <p:txBody>
          <a:bodyPr/>
          <a:lstStyle>
            <a:lvl1pPr algn="ctr">
              <a:defRPr b="0">
                <a:solidFill>
                  <a:schemeClr val="bg2"/>
                </a:solidFill>
              </a:defRPr>
            </a:lvl1p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C864BB8D-94B4-466C-94BF-D114C83BF951}" type="slidenum">
              <a:rPr lang="en-GB" smtClean="0"/>
              <a:pPr/>
              <a:t>‹#›</a:t>
            </a:fld>
            <a:endParaRPr lang="en-GB"/>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5"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2"/>
                </a:solidFill>
              </a:defRPr>
            </a:lvl1pPr>
          </a:lstStyle>
          <a:p>
            <a:r>
              <a:rPr lang="en-US"/>
              <a:t>© HL Display 2017 – All rights reserved</a:t>
            </a:r>
            <a:endParaRPr lang="fr-FR"/>
          </a:p>
        </p:txBody>
      </p:sp>
    </p:spTree>
    <p:extLst>
      <p:ext uri="{BB962C8B-B14F-4D97-AF65-F5344CB8AC3E}">
        <p14:creationId xmlns:p14="http://schemas.microsoft.com/office/powerpoint/2010/main" val="365538246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hank you  Layou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368363" y="1992412"/>
            <a:ext cx="9433048" cy="2291953"/>
          </a:xfrm>
        </p:spPr>
        <p:txBody>
          <a:bodyPr>
            <a:noAutofit/>
          </a:bodyPr>
          <a:lstStyle>
            <a:lvl1pPr algn="ctr">
              <a:defRPr sz="9600" b="1">
                <a:solidFill>
                  <a:schemeClr val="bg2"/>
                </a:solidFill>
              </a:defRPr>
            </a:lvl1pPr>
          </a:lstStyle>
          <a:p>
            <a:r>
              <a:rPr lang="en-US"/>
              <a:t>Click to edit Master title style</a:t>
            </a:r>
            <a:endParaRPr lang="en-GB"/>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46000" y="5904000"/>
            <a:ext cx="881889" cy="540000"/>
          </a:xfrm>
          <a:prstGeom prst="rect">
            <a:avLst/>
          </a:prstGeom>
        </p:spPr>
      </p:pic>
      <p:sp>
        <p:nvSpPr>
          <p:cNvPr id="7" name="Text Placeholder 6"/>
          <p:cNvSpPr>
            <a:spLocks noGrp="1"/>
          </p:cNvSpPr>
          <p:nvPr>
            <p:ph type="body" sz="quarter" idx="10"/>
          </p:nvPr>
        </p:nvSpPr>
        <p:spPr>
          <a:xfrm>
            <a:off x="468957" y="6156127"/>
            <a:ext cx="4895850" cy="287873"/>
          </a:xfrm>
        </p:spPr>
        <p:txBody>
          <a:bodyPr>
            <a:normAutofit/>
          </a:bodyPr>
          <a:lstStyle>
            <a:lvl1pPr>
              <a:defRPr sz="1300">
                <a:solidFill>
                  <a:schemeClr val="bg2"/>
                </a:solidFill>
              </a:defRPr>
            </a:lvl1pPr>
          </a:lstStyle>
          <a:p>
            <a:pPr lvl="0"/>
            <a:r>
              <a:rPr lang="en-US"/>
              <a:t>Click to edit Master text styles</a:t>
            </a:r>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420591" y="5278388"/>
            <a:ext cx="1830986" cy="878185"/>
          </a:xfrm>
          <a:prstGeom prst="rect">
            <a:avLst/>
          </a:prstGeom>
        </p:spPr>
      </p:pic>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764407" y="5295815"/>
            <a:ext cx="1584176" cy="878185"/>
          </a:xfrm>
          <a:prstGeom prst="rect">
            <a:avLst/>
          </a:prstGeom>
        </p:spPr>
      </p:pic>
      <p:pic>
        <p:nvPicPr>
          <p:cNvPr id="12" name="Picture 1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24247" y="5167007"/>
            <a:ext cx="1584176" cy="878185"/>
          </a:xfrm>
          <a:prstGeom prst="rect">
            <a:avLst/>
          </a:prstGeom>
        </p:spPr>
      </p:pic>
      <p:pic>
        <p:nvPicPr>
          <p:cNvPr id="13" name="Picture 12"/>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39618" y="5213799"/>
            <a:ext cx="1941413" cy="1006918"/>
          </a:xfrm>
          <a:prstGeom prst="rect">
            <a:avLst/>
          </a:prstGeom>
        </p:spPr>
      </p:pic>
    </p:spTree>
    <p:extLst>
      <p:ext uri="{BB962C8B-B14F-4D97-AF65-F5344CB8AC3E}">
        <p14:creationId xmlns:p14="http://schemas.microsoft.com/office/powerpoint/2010/main" val="155472547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ull color for 5th element and white bacground">
    <p:spTree>
      <p:nvGrpSpPr>
        <p:cNvPr id="1" name=""/>
        <p:cNvGrpSpPr/>
        <p:nvPr/>
      </p:nvGrpSpPr>
      <p:grpSpPr>
        <a:xfrm>
          <a:off x="0" y="0"/>
          <a:ext cx="0" cy="0"/>
          <a:chOff x="0" y="0"/>
          <a:chExt cx="0" cy="0"/>
        </a:xfrm>
      </p:grpSpPr>
      <p:sp>
        <p:nvSpPr>
          <p:cNvPr id="5" name="Freeform 4"/>
          <p:cNvSpPr/>
          <p:nvPr userDrawn="1"/>
        </p:nvSpPr>
        <p:spPr>
          <a:xfrm>
            <a:off x="-28576" y="1146412"/>
            <a:ext cx="7806519" cy="3712191"/>
          </a:xfrm>
          <a:custGeom>
            <a:avLst/>
            <a:gdLst>
              <a:gd name="connsiteX0" fmla="*/ 0 w 7806519"/>
              <a:gd name="connsiteY0" fmla="*/ 0 h 3712191"/>
              <a:gd name="connsiteX1" fmla="*/ 7806519 w 7806519"/>
              <a:gd name="connsiteY1" fmla="*/ 0 h 3712191"/>
              <a:gd name="connsiteX2" fmla="*/ 6564573 w 7806519"/>
              <a:gd name="connsiteY2" fmla="*/ 3712191 h 3712191"/>
              <a:gd name="connsiteX3" fmla="*/ 13648 w 7806519"/>
              <a:gd name="connsiteY3" fmla="*/ 3712191 h 3712191"/>
              <a:gd name="connsiteX4" fmla="*/ 0 w 7806519"/>
              <a:gd name="connsiteY4" fmla="*/ 0 h 37121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06519" h="3712191">
                <a:moveTo>
                  <a:pt x="0" y="0"/>
                </a:moveTo>
                <a:lnTo>
                  <a:pt x="7806519" y="0"/>
                </a:lnTo>
                <a:lnTo>
                  <a:pt x="6564573" y="3712191"/>
                </a:lnTo>
                <a:lnTo>
                  <a:pt x="13648" y="3712191"/>
                </a:lnTo>
                <a:cubicBezTo>
                  <a:pt x="9099" y="2474794"/>
                  <a:pt x="4549" y="1237397"/>
                  <a:pt x="0"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endParaRPr>
          </a:p>
        </p:txBody>
      </p:sp>
      <p:sp>
        <p:nvSpPr>
          <p:cNvPr id="2" name="Title 1"/>
          <p:cNvSpPr>
            <a:spLocks noGrp="1"/>
          </p:cNvSpPr>
          <p:nvPr>
            <p:ph type="ctrTitle"/>
          </p:nvPr>
        </p:nvSpPr>
        <p:spPr>
          <a:xfrm>
            <a:off x="972000" y="2772365"/>
            <a:ext cx="5616000" cy="1512000"/>
          </a:xfrm>
          <a:prstGeom prst="rect">
            <a:avLst/>
          </a:prstGeom>
        </p:spPr>
        <p:txBody>
          <a:bodyPr>
            <a:noAutofit/>
          </a:bodyPr>
          <a:lstStyle/>
          <a:p>
            <a:r>
              <a:rPr lang="en-US"/>
              <a:t>Click to edit Master title style</a:t>
            </a:r>
            <a:endParaRPr lang="en-GB"/>
          </a:p>
        </p:txBody>
      </p:sp>
      <p:sp>
        <p:nvSpPr>
          <p:cNvPr id="3" name="Subtitle 2"/>
          <p:cNvSpPr>
            <a:spLocks noGrp="1"/>
          </p:cNvSpPr>
          <p:nvPr>
            <p:ph type="subTitle" idx="1" hasCustomPrompt="1"/>
          </p:nvPr>
        </p:nvSpPr>
        <p:spPr>
          <a:xfrm>
            <a:off x="972000" y="4305600"/>
            <a:ext cx="5616000" cy="410400"/>
          </a:xfrm>
          <a:prstGeom prst="rect">
            <a:avLst/>
          </a:prstGeom>
        </p:spPr>
        <p:txBody>
          <a:bodyPr>
            <a:noAutofit/>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1430" y="1764084"/>
            <a:ext cx="1469814" cy="900000"/>
          </a:xfrm>
          <a:prstGeom prst="rect">
            <a:avLst/>
          </a:prstGeom>
        </p:spPr>
      </p:pic>
    </p:spTree>
    <p:extLst>
      <p:ext uri="{BB962C8B-B14F-4D97-AF65-F5344CB8AC3E}">
        <p14:creationId xmlns:p14="http://schemas.microsoft.com/office/powerpoint/2010/main" val="4143731937"/>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theme" Target="../theme/theme10.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70.xml"/><Relationship Id="rId1" Type="http://schemas.openxmlformats.org/officeDocument/2006/relationships/slideLayout" Target="../slideLayouts/slideLayout69.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73.xml"/><Relationship Id="rId7" Type="http://schemas.openxmlformats.org/officeDocument/2006/relationships/theme" Target="../theme/theme12.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5" Type="http://schemas.openxmlformats.org/officeDocument/2006/relationships/slideLayout" Target="../slideLayouts/slideLayout75.xml"/><Relationship Id="rId4" Type="http://schemas.openxmlformats.org/officeDocument/2006/relationships/slideLayout" Target="../slideLayouts/slideLayout74.x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78.xml"/><Relationship Id="rId1" Type="http://schemas.openxmlformats.org/officeDocument/2006/relationships/slideLayout" Target="../slideLayouts/slideLayout77.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86.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14.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tags" Target="../tags/tag5.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ags" Target="../tags/tag4.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vmlDrawing" Target="../drawings/vmlDrawing3.vml"/><Relationship Id="rId5" Type="http://schemas.openxmlformats.org/officeDocument/2006/relationships/slideLayout" Target="../slideLayouts/slideLayout94.xml"/><Relationship Id="rId15" Type="http://schemas.openxmlformats.org/officeDocument/2006/relationships/image" Target="../media/image7.emf"/><Relationship Id="rId10" Type="http://schemas.openxmlformats.org/officeDocument/2006/relationships/theme" Target="../theme/theme15.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oleObject" Target="../embeddings/oleObject3.bin"/></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101.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5" Type="http://schemas.openxmlformats.org/officeDocument/2006/relationships/theme" Target="../theme/theme16.xml"/><Relationship Id="rId4" Type="http://schemas.openxmlformats.org/officeDocument/2006/relationships/slideLayout" Target="../slideLayouts/slideLayout102.xml"/></Relationships>
</file>

<file path=ppt/slideMasters/_rels/slideMaster17.xml.rels><?xml version="1.0" encoding="UTF-8" standalone="yes"?>
<Relationships xmlns="http://schemas.openxmlformats.org/package/2006/relationships"><Relationship Id="rId3" Type="http://schemas.openxmlformats.org/officeDocument/2006/relationships/theme" Target="../theme/theme17.xml"/><Relationship Id="rId2" Type="http://schemas.openxmlformats.org/officeDocument/2006/relationships/slideLayout" Target="../slideLayouts/slideLayout104.xml"/><Relationship Id="rId1" Type="http://schemas.openxmlformats.org/officeDocument/2006/relationships/slideLayout" Target="../slideLayouts/slideLayout103.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image" Target="../media/image23.png"/><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theme" Target="../theme/theme18.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s>
</file>

<file path=ppt/slideMasters/_rels/slideMaster19.xml.rels><?xml version="1.0" encoding="UTF-8" standalone="yes"?>
<Relationships xmlns="http://schemas.openxmlformats.org/package/2006/relationships"><Relationship Id="rId3" Type="http://schemas.openxmlformats.org/officeDocument/2006/relationships/theme" Target="../theme/theme19.xml"/><Relationship Id="rId2" Type="http://schemas.openxmlformats.org/officeDocument/2006/relationships/slideLayout" Target="../slideLayouts/slideLayout122.xml"/><Relationship Id="rId1" Type="http://schemas.openxmlformats.org/officeDocument/2006/relationships/slideLayout" Target="../slideLayouts/slideLayout12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slideLayout" Target="../slideLayouts/slideLayout4.xml"/><Relationship Id="rId7" Type="http://schemas.openxmlformats.org/officeDocument/2006/relationships/slideLayout" Target="../slideLayouts/slideLayout8.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5" Type="http://schemas.openxmlformats.org/officeDocument/2006/relationships/slideLayout" Target="../slideLayouts/slideLayout6.xml"/><Relationship Id="rId4" Type="http://schemas.openxmlformats.org/officeDocument/2006/relationships/slideLayout" Target="../slideLayouts/slideLayout5.xml"/><Relationship Id="rId9"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theme" Target="../theme/theme20.x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0" Type="http://schemas.openxmlformats.org/officeDocument/2006/relationships/slideLayout" Target="../slideLayouts/slideLayout132.xml"/><Relationship Id="rId4" Type="http://schemas.openxmlformats.org/officeDocument/2006/relationships/slideLayout" Target="../slideLayouts/slideLayout126.xml"/><Relationship Id="rId9" Type="http://schemas.openxmlformats.org/officeDocument/2006/relationships/slideLayout" Target="../slideLayouts/slideLayout131.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42.xml"/><Relationship Id="rId3" Type="http://schemas.openxmlformats.org/officeDocument/2006/relationships/slideLayout" Target="../slideLayouts/slideLayout137.xml"/><Relationship Id="rId7" Type="http://schemas.openxmlformats.org/officeDocument/2006/relationships/slideLayout" Target="../slideLayouts/slideLayout141.xml"/><Relationship Id="rId2" Type="http://schemas.openxmlformats.org/officeDocument/2006/relationships/slideLayout" Target="../slideLayouts/slideLayout136.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5" Type="http://schemas.openxmlformats.org/officeDocument/2006/relationships/slideLayout" Target="../slideLayouts/slideLayout139.xml"/><Relationship Id="rId10" Type="http://schemas.openxmlformats.org/officeDocument/2006/relationships/theme" Target="../theme/theme21.xml"/><Relationship Id="rId4" Type="http://schemas.openxmlformats.org/officeDocument/2006/relationships/slideLayout" Target="../slideLayouts/slideLayout138.xml"/><Relationship Id="rId9" Type="http://schemas.openxmlformats.org/officeDocument/2006/relationships/slideLayout" Target="../slideLayouts/slideLayout143.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2" Type="http://schemas.openxmlformats.org/officeDocument/2006/relationships/slideLayout" Target="../slideLayouts/slideLayout145.xml"/><Relationship Id="rId16" Type="http://schemas.openxmlformats.org/officeDocument/2006/relationships/theme" Target="../theme/theme22.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10" Type="http://schemas.openxmlformats.org/officeDocument/2006/relationships/slideLayout" Target="../slideLayouts/slideLayout153.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66.xml"/><Relationship Id="rId3" Type="http://schemas.openxmlformats.org/officeDocument/2006/relationships/slideLayout" Target="../slideLayouts/slideLayout161.xml"/><Relationship Id="rId7" Type="http://schemas.openxmlformats.org/officeDocument/2006/relationships/slideLayout" Target="../slideLayouts/slideLayout165.xml"/><Relationship Id="rId12" Type="http://schemas.openxmlformats.org/officeDocument/2006/relationships/theme" Target="../theme/theme23.xml"/><Relationship Id="rId2" Type="http://schemas.openxmlformats.org/officeDocument/2006/relationships/slideLayout" Target="../slideLayouts/slideLayout160.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5" Type="http://schemas.openxmlformats.org/officeDocument/2006/relationships/slideLayout" Target="../slideLayouts/slideLayout163.xml"/><Relationship Id="rId10" Type="http://schemas.openxmlformats.org/officeDocument/2006/relationships/slideLayout" Target="../slideLayouts/slideLayout168.xml"/><Relationship Id="rId4" Type="http://schemas.openxmlformats.org/officeDocument/2006/relationships/slideLayout" Target="../slideLayouts/slideLayout162.xml"/><Relationship Id="rId9" Type="http://schemas.openxmlformats.org/officeDocument/2006/relationships/slideLayout" Target="../slideLayouts/slideLayout167.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3" Type="http://schemas.openxmlformats.org/officeDocument/2006/relationships/slideLayout" Target="../slideLayouts/slideLayout172.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2" Type="http://schemas.openxmlformats.org/officeDocument/2006/relationships/slideLayout" Target="../slideLayouts/slideLayout171.xml"/><Relationship Id="rId16" Type="http://schemas.openxmlformats.org/officeDocument/2006/relationships/theme" Target="../theme/theme24.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10" Type="http://schemas.openxmlformats.org/officeDocument/2006/relationships/slideLayout" Target="../slideLayouts/slideLayout179.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0.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ags" Target="../tags/tag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ags" Target="../tags/tag1.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vmlDrawing" Target="../drawings/vmlDrawing1.vml"/><Relationship Id="rId5" Type="http://schemas.openxmlformats.org/officeDocument/2006/relationships/slideLayout" Target="../slideLayouts/slideLayout18.xml"/><Relationship Id="rId15" Type="http://schemas.openxmlformats.org/officeDocument/2006/relationships/image" Target="../media/image7.emf"/><Relationship Id="rId10" Type="http://schemas.openxmlformats.org/officeDocument/2006/relationships/theme" Target="../theme/theme5.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oleObject" Target="../embeddings/oleObject1.bin"/></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theme" Target="../theme/theme7.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theme" Target="../theme/theme8.xml"/><Relationship Id="rId5" Type="http://schemas.openxmlformats.org/officeDocument/2006/relationships/slideLayout" Target="../slideLayouts/slideLayout44.xml"/><Relationship Id="rId4" Type="http://schemas.openxmlformats.org/officeDocument/2006/relationships/slideLayout" Target="../slideLayouts/slideLayout4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theme" Target="../theme/theme9.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468263" y="6369099"/>
            <a:ext cx="504056" cy="363538"/>
          </a:xfrm>
          <a:prstGeom prst="rect">
            <a:avLst/>
          </a:prstGeom>
        </p:spPr>
        <p:txBody>
          <a:bodyPr vert="horz" lIns="91440" tIns="45720" rIns="91440" bIns="45720" rtlCol="0" anchor="ctr"/>
          <a:lstStyle>
            <a:lvl1pPr algn="l">
              <a:defRPr sz="1200">
                <a:solidFill>
                  <a:schemeClr val="tx1">
                    <a:tint val="75000"/>
                  </a:schemeClr>
                </a:solidFill>
              </a:defRPr>
            </a:lvl1pPr>
          </a:lstStyle>
          <a:p>
            <a:fld id="{AF8C7990-448D-4BE6-98CB-96C0E2D6ABC1}" type="slidenum">
              <a:rPr lang="en-GB" smtClean="0"/>
              <a:pPr/>
              <a:t>‹#›</a:t>
            </a:fld>
            <a:endParaRPr lang="en-GB"/>
          </a:p>
        </p:txBody>
      </p:sp>
      <p:sp>
        <p:nvSpPr>
          <p:cNvPr id="2" name="Footer Placeholder 1"/>
          <p:cNvSpPr>
            <a:spLocks noGrp="1"/>
          </p:cNvSpPr>
          <p:nvPr>
            <p:ph type="ftr" sz="quarter" idx="3"/>
          </p:nvPr>
        </p:nvSpPr>
        <p:spPr>
          <a:xfrm>
            <a:off x="1116335" y="6340475"/>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8 – All rights reserved</a:t>
            </a:r>
            <a:endParaRPr lang="fr-FR" dirty="0"/>
          </a:p>
        </p:txBody>
      </p:sp>
    </p:spTree>
    <p:extLst>
      <p:ext uri="{BB962C8B-B14F-4D97-AF65-F5344CB8AC3E}">
        <p14:creationId xmlns:p14="http://schemas.microsoft.com/office/powerpoint/2010/main" val="4199939014"/>
      </p:ext>
    </p:extLst>
  </p:cSld>
  <p:clrMap bg1="lt1" tx1="dk1" bg2="lt2" tx2="dk2" accent1="accent1" accent2="accent2" accent3="accent3" accent4="accent4" accent5="accent5" accent6="accent6" hlink="hlink" folHlink="folHlink"/>
  <p:sldLayoutIdLst>
    <p:sldLayoutId id="2147483845" r:id="rId1"/>
  </p:sldLayoutIdLst>
  <p:hf sldNum="0" hdr="0" dt="0"/>
  <p:txStyles>
    <p:titleStyle>
      <a:lvl1pPr algn="l" defTabSz="914400" rtl="0" eaLnBrk="1" latinLnBrk="0" hangingPunct="1">
        <a:spcBef>
          <a:spcPct val="0"/>
        </a:spcBef>
        <a:buNone/>
        <a:defRPr sz="3200" kern="1200" spc="-150" baseline="0">
          <a:solidFill>
            <a:schemeClr val="bg2"/>
          </a:solidFill>
          <a:latin typeface="Arial" pitchFamily="34" charset="0"/>
          <a:ea typeface="+mj-ea"/>
          <a:cs typeface="Arial" pitchFamily="34" charset="0"/>
        </a:defRPr>
      </a:lvl1pPr>
    </p:titleStyle>
    <p:bodyStyle>
      <a:lvl1pPr marL="0" indent="0" algn="l" defTabSz="914400" rtl="0" eaLnBrk="1" latinLnBrk="0" hangingPunct="1">
        <a:spcBef>
          <a:spcPct val="20000"/>
        </a:spcBef>
        <a:buFont typeface="Arial" pitchFamily="34" charset="0"/>
        <a:buNone/>
        <a:defRPr sz="1800" b="1" kern="1200" spc="-100" baseline="0">
          <a:solidFill>
            <a:schemeClr val="bg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9749" y="408236"/>
            <a:ext cx="11090275" cy="1139825"/>
          </a:xfrm>
          <a:prstGeom prst="rect">
            <a:avLst/>
          </a:prstGeom>
        </p:spPr>
        <p:txBody>
          <a:bodyPr vert="horz" lIns="91440" tIns="45720" rIns="91440" bIns="45720" rtlCol="0" anchor="b"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539750" y="1620838"/>
            <a:ext cx="11090274" cy="4175695"/>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rtl="0" fontAlgn="base">
              <a:spcBef>
                <a:spcPct val="0"/>
              </a:spcBef>
              <a:spcAft>
                <a:spcPct val="0"/>
              </a:spcAft>
              <a:defRPr lang="en-GB" sz="1000" kern="1200" smtClean="0">
                <a:solidFill>
                  <a:schemeClr val="bg1"/>
                </a:solidFill>
                <a:latin typeface="Arial" pitchFamily="34" charset="0"/>
                <a:ea typeface="+mn-ea"/>
                <a:cs typeface="Arial" pitchFamily="34" charset="0"/>
              </a:defRPr>
            </a:lvl1pPr>
          </a:lstStyle>
          <a:p>
            <a:fld id="{C864BB8D-94B4-466C-94BF-D114C83BF951}" type="slidenum">
              <a:rPr lang="sv-SE" smtClean="0"/>
              <a:pPr/>
              <a:t>‹#›</a:t>
            </a:fld>
            <a:endParaRPr lang="sv-SE" dirty="0"/>
          </a:p>
        </p:txBody>
      </p:sp>
      <p:sp>
        <p:nvSpPr>
          <p:cNvPr id="4"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1948505574"/>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Lst>
  <p:hf hdr="0" dt="0"/>
  <p:txStyles>
    <p:titleStyle>
      <a:lvl1pPr algn="l" defTabSz="914400" rtl="0" eaLnBrk="1" latinLnBrk="0" hangingPunct="1">
        <a:spcBef>
          <a:spcPct val="0"/>
        </a:spcBef>
        <a:buNone/>
        <a:defRPr sz="3600" kern="1200" spc="-130" baseline="0">
          <a:solidFill>
            <a:schemeClr val="tx2"/>
          </a:solidFill>
          <a:latin typeface="Arial" pitchFamily="34" charset="0"/>
          <a:ea typeface="+mj-ea"/>
          <a:cs typeface="Arial" pitchFamily="34" charset="0"/>
        </a:defRPr>
      </a:lvl1pPr>
    </p:titleStyle>
    <p:bodyStyle>
      <a:lvl1pPr marL="0" indent="0" algn="l" defTabSz="914400" rtl="0" eaLnBrk="1" latinLnBrk="0" hangingPunct="1">
        <a:spcBef>
          <a:spcPct val="20000"/>
        </a:spcBef>
        <a:buFont typeface="Arial" pitchFamily="34" charset="0"/>
        <a:buNone/>
        <a:defRPr sz="2400" b="0" kern="1200" spc="-100" baseline="0">
          <a:solidFill>
            <a:schemeClr val="accent5"/>
          </a:solidFill>
          <a:latin typeface="Arial" pitchFamily="34" charset="0"/>
          <a:ea typeface="+mn-ea"/>
          <a:cs typeface="Arial" pitchFamily="34" charset="0"/>
        </a:defRPr>
      </a:lvl1pPr>
      <a:lvl2pPr marL="174625" indent="-174625" algn="l" defTabSz="914400" rtl="0" eaLnBrk="1" latinLnBrk="0" hangingPunct="1">
        <a:spcBef>
          <a:spcPct val="20000"/>
        </a:spcBef>
        <a:buFont typeface="Arial" pitchFamily="34" charset="0"/>
        <a:buChar char="•"/>
        <a:defRPr sz="2000" b="0" kern="1200" spc="-100" baseline="0">
          <a:solidFill>
            <a:schemeClr val="accent5"/>
          </a:solidFill>
          <a:latin typeface="Arial" pitchFamily="34" charset="0"/>
          <a:ea typeface="+mn-ea"/>
          <a:cs typeface="Arial" pitchFamily="34" charset="0"/>
        </a:defRPr>
      </a:lvl2pPr>
      <a:lvl3pPr marL="446088" indent="-174625" algn="l" defTabSz="914400" rtl="0" eaLnBrk="1" latinLnBrk="0" hangingPunct="1">
        <a:spcBef>
          <a:spcPct val="20000"/>
        </a:spcBef>
        <a:buFont typeface="Arial" pitchFamily="34" charset="0"/>
        <a:buChar char="•"/>
        <a:defRPr sz="2000" kern="1200">
          <a:solidFill>
            <a:schemeClr val="accent5"/>
          </a:solidFill>
          <a:latin typeface="Arial" pitchFamily="34" charset="0"/>
          <a:ea typeface="+mn-ea"/>
          <a:cs typeface="Arial" pitchFamily="34" charset="0"/>
        </a:defRPr>
      </a:lvl3pPr>
      <a:lvl4pPr marL="719138" indent="-180975" algn="l" defTabSz="914400" rtl="0" eaLnBrk="1" latinLnBrk="0" hangingPunct="1">
        <a:spcBef>
          <a:spcPct val="20000"/>
        </a:spcBef>
        <a:buFont typeface="Arial" panose="020B0604020202020204" pitchFamily="34" charset="0"/>
        <a:buChar char="•"/>
        <a:defRPr sz="2000" kern="1200">
          <a:solidFill>
            <a:schemeClr val="accent5"/>
          </a:solidFill>
          <a:latin typeface="Arial" panose="020B0604020202020204" pitchFamily="34" charset="0"/>
          <a:ea typeface="+mn-ea"/>
          <a:cs typeface="Arial" panose="020B0604020202020204" pitchFamily="34" charset="0"/>
        </a:defRPr>
      </a:lvl4pPr>
      <a:lvl5pPr marL="1077913" indent="-179388" algn="l" defTabSz="914400" rtl="0" eaLnBrk="1" latinLnBrk="0" hangingPunct="1">
        <a:spcBef>
          <a:spcPct val="20000"/>
        </a:spcBef>
        <a:buFont typeface="Arial" panose="020B0604020202020204" pitchFamily="34" charset="0"/>
        <a:buChar char="•"/>
        <a:defRPr sz="2000" kern="1200">
          <a:solidFill>
            <a:schemeClr val="accent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54">
          <p15:clr>
            <a:srgbClr val="F26B43"/>
          </p15:clr>
        </p15:guide>
        <p15:guide id="2" pos="3833">
          <p15:clr>
            <a:srgbClr val="F26B43"/>
          </p15:clr>
        </p15:guide>
        <p15:guide id="3" orient="horz" pos="255">
          <p15:clr>
            <a:srgbClr val="F26B43"/>
          </p15:clr>
        </p15:guide>
        <p15:guide id="4" pos="340">
          <p15:clr>
            <a:srgbClr val="F26B43"/>
          </p15:clr>
        </p15:guide>
        <p15:guide id="5" orient="horz" pos="1021">
          <p15:clr>
            <a:srgbClr val="F26B43"/>
          </p15:clr>
        </p15:guide>
        <p15:guide id="6" pos="732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468263" y="6369099"/>
            <a:ext cx="504056" cy="363538"/>
          </a:xfrm>
          <a:prstGeom prst="rect">
            <a:avLst/>
          </a:prstGeom>
        </p:spPr>
        <p:txBody>
          <a:bodyPr vert="horz" lIns="91440" tIns="45720" rIns="91440" bIns="45720" rtlCol="0" anchor="ctr"/>
          <a:lstStyle>
            <a:lvl1pPr algn="l">
              <a:defRPr sz="1200">
                <a:solidFill>
                  <a:schemeClr val="bg1"/>
                </a:solidFill>
              </a:defRPr>
            </a:lvl1pPr>
          </a:lstStyle>
          <a:p>
            <a:fld id="{AF8C7990-448D-4BE6-98CB-96C0E2D6ABC1}" type="slidenum">
              <a:rPr lang="en-GB" smtClean="0"/>
              <a:pPr/>
              <a:t>‹#›</a:t>
            </a:fld>
            <a:endParaRPr lang="en-GB" dirty="0"/>
          </a:p>
        </p:txBody>
      </p:sp>
      <p:sp>
        <p:nvSpPr>
          <p:cNvPr id="2" name="Footer Placeholder 1"/>
          <p:cNvSpPr>
            <a:spLocks noGrp="1"/>
          </p:cNvSpPr>
          <p:nvPr>
            <p:ph type="ftr" sz="quarter" idx="3"/>
          </p:nvPr>
        </p:nvSpPr>
        <p:spPr>
          <a:xfrm>
            <a:off x="1116335" y="6340475"/>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3468826225"/>
      </p:ext>
    </p:extLst>
  </p:cSld>
  <p:clrMap bg1="lt1" tx1="dk1" bg2="lt2" tx2="dk2" accent1="accent1" accent2="accent2" accent3="accent3" accent4="accent4" accent5="accent5" accent6="accent6" hlink="hlink" folHlink="folHlink"/>
  <p:sldLayoutIdLst>
    <p:sldLayoutId id="2147483925" r:id="rId1"/>
    <p:sldLayoutId id="2147483926" r:id="rId2"/>
  </p:sldLayoutIdLst>
  <p:hf hdr="0" dt="0"/>
  <p:txStyles>
    <p:titleStyle>
      <a:lvl1pPr algn="l" defTabSz="914400" rtl="0" eaLnBrk="1" latinLnBrk="0" hangingPunct="1">
        <a:spcBef>
          <a:spcPct val="0"/>
        </a:spcBef>
        <a:buNone/>
        <a:defRPr sz="3200" kern="1200" spc="-150" baseline="0">
          <a:solidFill>
            <a:schemeClr val="bg2"/>
          </a:solidFill>
          <a:latin typeface="Arial" pitchFamily="34" charset="0"/>
          <a:ea typeface="+mj-ea"/>
          <a:cs typeface="Arial" pitchFamily="34" charset="0"/>
        </a:defRPr>
      </a:lvl1pPr>
    </p:titleStyle>
    <p:bodyStyle>
      <a:lvl1pPr marL="0" indent="0" algn="l" defTabSz="914400" rtl="0" eaLnBrk="1" latinLnBrk="0" hangingPunct="1">
        <a:spcBef>
          <a:spcPct val="20000"/>
        </a:spcBef>
        <a:buFont typeface="Arial" pitchFamily="34" charset="0"/>
        <a:buNone/>
        <a:defRPr sz="1800" b="1" kern="1200" spc="-100" baseline="0">
          <a:solidFill>
            <a:schemeClr val="bg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468263" y="6369099"/>
            <a:ext cx="504056" cy="363538"/>
          </a:xfrm>
          <a:prstGeom prst="rect">
            <a:avLst/>
          </a:prstGeom>
        </p:spPr>
        <p:txBody>
          <a:bodyPr vert="horz" lIns="91440" tIns="45720" rIns="91440" bIns="45720" rtlCol="0" anchor="ctr"/>
          <a:lstStyle>
            <a:lvl1pPr algn="l">
              <a:defRPr sz="1200">
                <a:solidFill>
                  <a:schemeClr val="tx1">
                    <a:tint val="75000"/>
                  </a:schemeClr>
                </a:solidFill>
              </a:defRPr>
            </a:lvl1pPr>
          </a:lstStyle>
          <a:p>
            <a:fld id="{AF8C7990-448D-4BE6-98CB-96C0E2D6ABC1}" type="slidenum">
              <a:rPr lang="en-GB" smtClean="0"/>
              <a:pPr/>
              <a:t>‹#›</a:t>
            </a:fld>
            <a:endParaRPr lang="en-GB"/>
          </a:p>
        </p:txBody>
      </p:sp>
      <p:sp>
        <p:nvSpPr>
          <p:cNvPr id="2" name="Footer Placeholder 1"/>
          <p:cNvSpPr>
            <a:spLocks noGrp="1"/>
          </p:cNvSpPr>
          <p:nvPr>
            <p:ph type="ftr" sz="quarter" idx="3"/>
          </p:nvPr>
        </p:nvSpPr>
        <p:spPr>
          <a:xfrm>
            <a:off x="1116335" y="6340475"/>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7 – All rights reserved</a:t>
            </a:r>
            <a:endParaRPr lang="fr-FR" dirty="0"/>
          </a:p>
        </p:txBody>
      </p:sp>
    </p:spTree>
    <p:extLst>
      <p:ext uri="{BB962C8B-B14F-4D97-AF65-F5344CB8AC3E}">
        <p14:creationId xmlns:p14="http://schemas.microsoft.com/office/powerpoint/2010/main" val="866709311"/>
      </p:ext>
    </p:extLst>
  </p:cSld>
  <p:clrMap bg1="lt1" tx1="dk1" bg2="lt2" tx2="dk2" accent1="accent1" accent2="accent2" accent3="accent3" accent4="accent4" accent5="accent5" accent6="accent6" hlink="hlink" folHlink="folHlink"/>
  <p:sldLayoutIdLst>
    <p:sldLayoutId id="2147483929" r:id="rId1"/>
    <p:sldLayoutId id="2147483930" r:id="rId2"/>
    <p:sldLayoutId id="2147483932" r:id="rId3"/>
    <p:sldLayoutId id="2147483933" r:id="rId4"/>
    <p:sldLayoutId id="2147483934" r:id="rId5"/>
    <p:sldLayoutId id="2147483935" r:id="rId6"/>
  </p:sldLayoutIdLst>
  <p:hf sldNum="0" hdr="0" dt="0"/>
  <p:txStyles>
    <p:titleStyle>
      <a:lvl1pPr algn="l" defTabSz="914400" rtl="0" eaLnBrk="1" latinLnBrk="0" hangingPunct="1">
        <a:spcBef>
          <a:spcPct val="0"/>
        </a:spcBef>
        <a:buNone/>
        <a:defRPr sz="3200" kern="1200" spc="-150" baseline="0">
          <a:solidFill>
            <a:schemeClr val="bg2"/>
          </a:solidFill>
          <a:latin typeface="Arial" pitchFamily="34" charset="0"/>
          <a:ea typeface="+mj-ea"/>
          <a:cs typeface="Arial" pitchFamily="34" charset="0"/>
        </a:defRPr>
      </a:lvl1pPr>
    </p:titleStyle>
    <p:bodyStyle>
      <a:lvl1pPr marL="0" indent="0" algn="l" defTabSz="914400" rtl="0" eaLnBrk="1" latinLnBrk="0" hangingPunct="1">
        <a:spcBef>
          <a:spcPct val="20000"/>
        </a:spcBef>
        <a:buFont typeface="Arial" pitchFamily="34" charset="0"/>
        <a:buNone/>
        <a:defRPr sz="1800" b="1" kern="1200" spc="-100" baseline="0">
          <a:solidFill>
            <a:schemeClr val="bg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a:xfrm>
            <a:off x="1116335" y="6340475"/>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2019 – All rights reserved</a:t>
            </a:r>
            <a:endParaRPr lang="fr-FR" dirty="0"/>
          </a:p>
        </p:txBody>
      </p:sp>
    </p:spTree>
    <p:extLst>
      <p:ext uri="{BB962C8B-B14F-4D97-AF65-F5344CB8AC3E}">
        <p14:creationId xmlns:p14="http://schemas.microsoft.com/office/powerpoint/2010/main" val="2238168199"/>
      </p:ext>
    </p:extLst>
  </p:cSld>
  <p:clrMap bg1="lt1" tx1="dk1" bg2="lt2" tx2="dk2" accent1="accent1" accent2="accent2" accent3="accent3" accent4="accent4" accent5="accent5" accent6="accent6" hlink="hlink" folHlink="folHlink"/>
  <p:sldLayoutIdLst>
    <p:sldLayoutId id="2147483937" r:id="rId1"/>
    <p:sldLayoutId id="2147483938" r:id="rId2"/>
  </p:sldLayoutIdLst>
  <p:hf hdr="0" dt="0"/>
  <p:txStyles>
    <p:titleStyle>
      <a:lvl1pPr algn="l" defTabSz="914400" rtl="0" eaLnBrk="1" latinLnBrk="0" hangingPunct="1">
        <a:spcBef>
          <a:spcPct val="0"/>
        </a:spcBef>
        <a:buNone/>
        <a:defRPr sz="3200" kern="1200" spc="-150" baseline="0">
          <a:solidFill>
            <a:schemeClr val="bg2"/>
          </a:solidFill>
          <a:latin typeface="Arial" pitchFamily="34" charset="0"/>
          <a:ea typeface="+mj-ea"/>
          <a:cs typeface="Arial" pitchFamily="34" charset="0"/>
        </a:defRPr>
      </a:lvl1pPr>
    </p:titleStyle>
    <p:bodyStyle>
      <a:lvl1pPr marL="0" indent="0" algn="l" defTabSz="914400" rtl="0" eaLnBrk="1" latinLnBrk="0" hangingPunct="1">
        <a:spcBef>
          <a:spcPct val="20000"/>
        </a:spcBef>
        <a:buFont typeface="Arial" pitchFamily="34" charset="0"/>
        <a:buNone/>
        <a:defRPr sz="1800" b="1" kern="1200" spc="-100" baseline="0">
          <a:solidFill>
            <a:schemeClr val="bg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72319" y="408236"/>
            <a:ext cx="10297144" cy="1139825"/>
          </a:xfrm>
          <a:prstGeom prst="rect">
            <a:avLst/>
          </a:prstGeom>
        </p:spPr>
        <p:txBody>
          <a:bodyPr vert="horz" lIns="91440" tIns="45720" rIns="91440" bIns="45720" rtlCol="0" anchor="t">
            <a:noAutofit/>
          </a:bodyPr>
          <a:lstStyle/>
          <a:p>
            <a:r>
              <a:rPr lang="en-US" dirty="0"/>
              <a:t>Click to edit Master title style</a:t>
            </a:r>
            <a:endParaRPr lang="en-GB" dirty="0"/>
          </a:p>
        </p:txBody>
      </p:sp>
      <p:sp>
        <p:nvSpPr>
          <p:cNvPr id="3" name="Text Placeholder 2"/>
          <p:cNvSpPr>
            <a:spLocks noGrp="1"/>
          </p:cNvSpPr>
          <p:nvPr>
            <p:ph type="body" idx="1"/>
          </p:nvPr>
        </p:nvSpPr>
        <p:spPr>
          <a:xfrm>
            <a:off x="972319" y="2001763"/>
            <a:ext cx="10297144" cy="437083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6" name="Slide Number Placeholder 5"/>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a:defRPr sz="1200">
                <a:solidFill>
                  <a:schemeClr val="tx1">
                    <a:tint val="75000"/>
                  </a:schemeClr>
                </a:solidFill>
              </a:defRPr>
            </a:lvl1pPr>
          </a:lstStyle>
          <a:p>
            <a:fld id="{C864BB8D-94B4-466C-94BF-D114C83BF951}" type="slidenum">
              <a:rPr lang="en-GB" smtClean="0"/>
              <a:pPr/>
              <a:t>‹#›</a:t>
            </a:fld>
            <a:endParaRPr lang="en-GB"/>
          </a:p>
        </p:txBody>
      </p:sp>
      <p:sp>
        <p:nvSpPr>
          <p:cNvPr id="4"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8 – All rights reserved</a:t>
            </a:r>
            <a:endParaRPr lang="fr-FR" dirty="0"/>
          </a:p>
        </p:txBody>
      </p:sp>
    </p:spTree>
    <p:extLst>
      <p:ext uri="{BB962C8B-B14F-4D97-AF65-F5344CB8AC3E}">
        <p14:creationId xmlns:p14="http://schemas.microsoft.com/office/powerpoint/2010/main" val="3493618503"/>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 id="2147483949" r:id="rId10"/>
    <p:sldLayoutId id="2147483950" r:id="rId11"/>
  </p:sldLayoutIdLst>
  <p:hf hdr="0" dt="0"/>
  <p:txStyles>
    <p:titleStyle>
      <a:lvl1pPr algn="l" defTabSz="914400" rtl="0" eaLnBrk="1" latinLnBrk="0" hangingPunct="1">
        <a:spcBef>
          <a:spcPct val="0"/>
        </a:spcBef>
        <a:buNone/>
        <a:defRPr sz="4000" kern="1200" spc="-130" baseline="0">
          <a:solidFill>
            <a:schemeClr val="tx2"/>
          </a:solidFill>
          <a:latin typeface="Arial" pitchFamily="34" charset="0"/>
          <a:ea typeface="+mj-ea"/>
          <a:cs typeface="Arial" pitchFamily="34" charset="0"/>
        </a:defRPr>
      </a:lvl1pPr>
    </p:titleStyle>
    <p:bodyStyle>
      <a:lvl1pPr marL="0" indent="0" algn="l" defTabSz="914400" rtl="0" eaLnBrk="1" latinLnBrk="0" hangingPunct="1">
        <a:spcBef>
          <a:spcPct val="20000"/>
        </a:spcBef>
        <a:buFont typeface="Arial" pitchFamily="34" charset="0"/>
        <a:buNone/>
        <a:defRPr sz="2800" b="0" kern="1200" spc="-100" baseline="0">
          <a:solidFill>
            <a:schemeClr val="tx1">
              <a:lumMod val="60000"/>
              <a:lumOff val="40000"/>
            </a:schemeClr>
          </a:solidFill>
          <a:latin typeface="Arial" pitchFamily="34" charset="0"/>
          <a:ea typeface="+mn-ea"/>
          <a:cs typeface="Arial" pitchFamily="34" charset="0"/>
        </a:defRPr>
      </a:lvl1pPr>
      <a:lvl2pPr marL="174625" indent="-174625" algn="l" defTabSz="914400" rtl="0" eaLnBrk="1" latinLnBrk="0" hangingPunct="1">
        <a:spcBef>
          <a:spcPct val="20000"/>
        </a:spcBef>
        <a:buFont typeface="Arial" pitchFamily="34" charset="0"/>
        <a:buChar char="•"/>
        <a:defRPr sz="2400" b="0" kern="1200" spc="-100" baseline="0">
          <a:solidFill>
            <a:schemeClr val="tx1"/>
          </a:solidFill>
          <a:latin typeface="Arial" pitchFamily="34" charset="0"/>
          <a:ea typeface="+mn-ea"/>
          <a:cs typeface="Arial" pitchFamily="34" charset="0"/>
        </a:defRPr>
      </a:lvl2pPr>
      <a:lvl3pPr marL="446088" indent="-174625" algn="l" defTabSz="914400" rtl="0" eaLnBrk="1" latinLnBrk="0" hangingPunct="1">
        <a:spcBef>
          <a:spcPct val="20000"/>
        </a:spcBef>
        <a:buFont typeface="Arial" pitchFamily="34" charset="0"/>
        <a:buChar char="•"/>
        <a:defRPr sz="2000" kern="1200">
          <a:solidFill>
            <a:schemeClr val="tx2"/>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69BFBB8-99A8-4D5A-8E79-8A9D44C64274}"/>
              </a:ext>
            </a:extLst>
          </p:cNvPr>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14" imgW="353" imgH="353" progId="TCLayout.ActiveDocument.1">
                  <p:embed/>
                </p:oleObj>
              </mc:Choice>
              <mc:Fallback>
                <p:oleObj name="think-cell Slide" r:id="rId14" imgW="353" imgH="353" progId="TCLayout.ActiveDocument.1">
                  <p:embed/>
                  <p:pic>
                    <p:nvPicPr>
                      <p:cNvPr id="7" name="Object 6" hidden="1">
                        <a:extLst>
                          <a:ext uri="{FF2B5EF4-FFF2-40B4-BE49-F238E27FC236}">
                            <a16:creationId xmlns:a16="http://schemas.microsoft.com/office/drawing/2014/main" id="{D69BFBB8-99A8-4D5A-8E79-8A9D44C6427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F87DE6A-EEA2-4A62-95D8-238171A7D983}"/>
              </a:ext>
            </a:extLst>
          </p:cNvPr>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0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972319" y="408236"/>
            <a:ext cx="10297144" cy="1139825"/>
          </a:xfrm>
          <a:prstGeom prst="rect">
            <a:avLst/>
          </a:prstGeom>
        </p:spPr>
        <p:txBody>
          <a:bodyPr vert="horz" lIns="91440" tIns="45720" rIns="91440" bIns="45720" rtlCol="0" anchor="t">
            <a:noAutofit/>
          </a:bodyPr>
          <a:lstStyle/>
          <a:p>
            <a:r>
              <a:rPr lang="en-US"/>
              <a:t>Click to edit Master title style</a:t>
            </a:r>
            <a:endParaRPr lang="en-GB"/>
          </a:p>
        </p:txBody>
      </p:sp>
      <p:sp>
        <p:nvSpPr>
          <p:cNvPr id="3" name="Text Placeholder 2"/>
          <p:cNvSpPr>
            <a:spLocks noGrp="1"/>
          </p:cNvSpPr>
          <p:nvPr>
            <p:ph type="body" idx="1"/>
          </p:nvPr>
        </p:nvSpPr>
        <p:spPr>
          <a:xfrm>
            <a:off x="972319" y="2001763"/>
            <a:ext cx="10297144" cy="437083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
        <p:nvSpPr>
          <p:cNvPr id="6" name="Slide Number Placeholder 5"/>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a:defRPr sz="1200">
                <a:solidFill>
                  <a:schemeClr val="tx1">
                    <a:tint val="75000"/>
                  </a:schemeClr>
                </a:solidFill>
              </a:defRPr>
            </a:lvl1pPr>
          </a:lstStyle>
          <a:p>
            <a:fld id="{C864BB8D-94B4-466C-94BF-D114C83BF951}" type="slidenum">
              <a:rPr lang="en-GB" smtClean="0"/>
              <a:pPr/>
              <a:t>‹#›</a:t>
            </a:fld>
            <a:endParaRPr lang="en-GB"/>
          </a:p>
        </p:txBody>
      </p:sp>
    </p:spTree>
    <p:extLst>
      <p:ext uri="{BB962C8B-B14F-4D97-AF65-F5344CB8AC3E}">
        <p14:creationId xmlns:p14="http://schemas.microsoft.com/office/powerpoint/2010/main" val="2850459887"/>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Lst>
  <p:hf sldNum="0" hdr="0" dt="0"/>
  <p:txStyles>
    <p:titleStyle>
      <a:lvl1pPr algn="l" defTabSz="914400" rtl="0" eaLnBrk="1" latinLnBrk="0" hangingPunct="1">
        <a:spcBef>
          <a:spcPct val="0"/>
        </a:spcBef>
        <a:buNone/>
        <a:defRPr sz="4000" kern="1200" spc="-130" baseline="0">
          <a:solidFill>
            <a:schemeClr val="tx2"/>
          </a:solidFill>
          <a:latin typeface="Arial" pitchFamily="34" charset="0"/>
          <a:ea typeface="+mj-ea"/>
          <a:cs typeface="Arial" pitchFamily="34" charset="0"/>
        </a:defRPr>
      </a:lvl1pPr>
    </p:titleStyle>
    <p:bodyStyle>
      <a:lvl1pPr marL="0" indent="0" algn="l" defTabSz="914400" rtl="0" eaLnBrk="1" latinLnBrk="0" hangingPunct="1">
        <a:spcBef>
          <a:spcPct val="20000"/>
        </a:spcBef>
        <a:buFont typeface="Arial" pitchFamily="34" charset="0"/>
        <a:buNone/>
        <a:defRPr sz="2800" b="0" kern="1200" spc="-100" baseline="0">
          <a:solidFill>
            <a:schemeClr val="tx1">
              <a:lumMod val="60000"/>
              <a:lumOff val="40000"/>
            </a:schemeClr>
          </a:solidFill>
          <a:latin typeface="Arial" pitchFamily="34" charset="0"/>
          <a:ea typeface="+mn-ea"/>
          <a:cs typeface="Arial" pitchFamily="34" charset="0"/>
        </a:defRPr>
      </a:lvl1pPr>
      <a:lvl2pPr marL="174625" indent="-174625" algn="l" defTabSz="914400" rtl="0" eaLnBrk="1" latinLnBrk="0" hangingPunct="1">
        <a:spcBef>
          <a:spcPct val="20000"/>
        </a:spcBef>
        <a:buFont typeface="Arial" pitchFamily="34" charset="0"/>
        <a:buChar char="•"/>
        <a:defRPr sz="2400" b="0" kern="1200" spc="-100" baseline="0">
          <a:solidFill>
            <a:schemeClr val="tx1"/>
          </a:solidFill>
          <a:latin typeface="Arial" pitchFamily="34" charset="0"/>
          <a:ea typeface="+mn-ea"/>
          <a:cs typeface="Arial" pitchFamily="34" charset="0"/>
        </a:defRPr>
      </a:lvl2pPr>
      <a:lvl3pPr marL="446088" indent="-174625" algn="l" defTabSz="914400" rtl="0" eaLnBrk="1" latinLnBrk="0" hangingPunct="1">
        <a:spcBef>
          <a:spcPct val="20000"/>
        </a:spcBef>
        <a:buFont typeface="Arial" pitchFamily="34" charset="0"/>
        <a:buChar char="•"/>
        <a:defRPr sz="2000" kern="1200">
          <a:solidFill>
            <a:schemeClr val="tx2"/>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972319" y="6369099"/>
            <a:ext cx="1152128" cy="363538"/>
          </a:xfrm>
          <a:prstGeom prst="rect">
            <a:avLst/>
          </a:prstGeom>
        </p:spPr>
        <p:txBody>
          <a:bodyPr vert="horz" lIns="91440" tIns="45720" rIns="91440" bIns="45720" rtlCol="0" anchor="ctr"/>
          <a:lstStyle>
            <a:lvl1pPr algn="l">
              <a:defRPr sz="1000">
                <a:solidFill>
                  <a:schemeClr val="tx1">
                    <a:tint val="75000"/>
                  </a:schemeClr>
                </a:solidFill>
              </a:defRPr>
            </a:lvl1pPr>
          </a:lstStyle>
          <a:p>
            <a:fld id="{AF8C7990-448D-4BE6-98CB-96C0E2D6ABC1}" type="slidenum">
              <a:rPr lang="en-GB" smtClean="0"/>
              <a:pPr/>
              <a:t>‹#›</a:t>
            </a:fld>
            <a:endParaRPr lang="en-GB"/>
          </a:p>
        </p:txBody>
      </p:sp>
    </p:spTree>
    <p:extLst>
      <p:ext uri="{BB962C8B-B14F-4D97-AF65-F5344CB8AC3E}">
        <p14:creationId xmlns:p14="http://schemas.microsoft.com/office/powerpoint/2010/main" val="4173536812"/>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6" r:id="rId4"/>
  </p:sldLayoutIdLst>
  <p:hf hdr="0" dt="0"/>
  <p:txStyles>
    <p:titleStyle>
      <a:lvl1pPr algn="l" defTabSz="914400" rtl="0" eaLnBrk="1" latinLnBrk="0" hangingPunct="1">
        <a:spcBef>
          <a:spcPct val="0"/>
        </a:spcBef>
        <a:buNone/>
        <a:defRPr sz="3200" kern="1200" spc="-150" baseline="0">
          <a:solidFill>
            <a:schemeClr val="bg2"/>
          </a:solidFill>
          <a:latin typeface="Arial" pitchFamily="34" charset="0"/>
          <a:ea typeface="+mj-ea"/>
          <a:cs typeface="Arial" pitchFamily="34" charset="0"/>
        </a:defRPr>
      </a:lvl1pPr>
    </p:titleStyle>
    <p:bodyStyle>
      <a:lvl1pPr marL="0" indent="0" algn="l" defTabSz="914400" rtl="0" eaLnBrk="1" latinLnBrk="0" hangingPunct="1">
        <a:spcBef>
          <a:spcPct val="20000"/>
        </a:spcBef>
        <a:buFont typeface="Arial" pitchFamily="34" charset="0"/>
        <a:buNone/>
        <a:defRPr sz="1800" b="1" kern="1200" spc="-100" baseline="0">
          <a:solidFill>
            <a:schemeClr val="bg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a:xfrm>
            <a:off x="1116335" y="6340475"/>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639445270"/>
      </p:ext>
    </p:extLst>
  </p:cSld>
  <p:clrMap bg1="lt1" tx1="dk1" bg2="lt2" tx2="dk2" accent1="accent1" accent2="accent2" accent3="accent3" accent4="accent4" accent5="accent5" accent6="accent6" hlink="hlink" folHlink="folHlink"/>
  <p:sldLayoutIdLst>
    <p:sldLayoutId id="2147483970" r:id="rId1"/>
    <p:sldLayoutId id="2147483971" r:id="rId2"/>
  </p:sldLayoutIdLst>
  <p:hf hdr="0" dt="0"/>
  <p:txStyles>
    <p:titleStyle>
      <a:lvl1pPr algn="l" defTabSz="914400" rtl="0" eaLnBrk="1" latinLnBrk="0" hangingPunct="1">
        <a:spcBef>
          <a:spcPct val="0"/>
        </a:spcBef>
        <a:buNone/>
        <a:defRPr sz="3200" kern="1200" spc="-150" baseline="0">
          <a:solidFill>
            <a:schemeClr val="bg2"/>
          </a:solidFill>
          <a:latin typeface="Arial" pitchFamily="34" charset="0"/>
          <a:ea typeface="+mj-ea"/>
          <a:cs typeface="Arial" pitchFamily="34" charset="0"/>
        </a:defRPr>
      </a:lvl1pPr>
    </p:titleStyle>
    <p:bodyStyle>
      <a:lvl1pPr marL="0" indent="0" algn="l" defTabSz="914400" rtl="0" eaLnBrk="1" latinLnBrk="0" hangingPunct="1">
        <a:spcBef>
          <a:spcPct val="20000"/>
        </a:spcBef>
        <a:buFont typeface="Arial" pitchFamily="34" charset="0"/>
        <a:buNone/>
        <a:defRPr sz="1800" b="1" kern="1200" spc="-100" baseline="0">
          <a:solidFill>
            <a:schemeClr val="bg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9749" y="408236"/>
            <a:ext cx="11090275" cy="1139825"/>
          </a:xfrm>
          <a:prstGeom prst="rect">
            <a:avLst/>
          </a:prstGeom>
        </p:spPr>
        <p:txBody>
          <a:bodyPr vert="horz" lIns="91440" tIns="45720" rIns="91440" bIns="4572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541858" y="1548061"/>
            <a:ext cx="11090274" cy="4175695"/>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rtl="0" fontAlgn="base">
              <a:spcBef>
                <a:spcPct val="0"/>
              </a:spcBef>
              <a:spcAft>
                <a:spcPct val="0"/>
              </a:spcAft>
              <a:defRPr lang="en-GB" sz="1000" kern="1200" smtClean="0">
                <a:solidFill>
                  <a:schemeClr val="bg1"/>
                </a:solidFill>
                <a:latin typeface="Arial" pitchFamily="34" charset="0"/>
                <a:ea typeface="+mn-ea"/>
                <a:cs typeface="Arial" pitchFamily="34" charset="0"/>
              </a:defRPr>
            </a:lvl1pPr>
          </a:lstStyle>
          <a:p>
            <a:fld id="{C864BB8D-94B4-466C-94BF-D114C83BF951}" type="slidenum">
              <a:rPr lang="sv-SE" smtClean="0"/>
              <a:pPr/>
              <a:t>‹#›</a:t>
            </a:fld>
            <a:endParaRPr lang="sv-SE" dirty="0"/>
          </a:p>
        </p:txBody>
      </p:sp>
      <p:sp>
        <p:nvSpPr>
          <p:cNvPr id="4"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pic>
        <p:nvPicPr>
          <p:cNvPr id="7" name="Picture 2">
            <a:extLst>
              <a:ext uri="{FF2B5EF4-FFF2-40B4-BE49-F238E27FC236}">
                <a16:creationId xmlns:a16="http://schemas.microsoft.com/office/drawing/2014/main" id="{EA9CB60C-3425-445C-BC0A-85CC25717579}"/>
              </a:ext>
            </a:extLst>
          </p:cNvPr>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10002196" y="478079"/>
            <a:ext cx="1627828" cy="8422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54146824"/>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 id="2147483984" r:id="rId12"/>
    <p:sldLayoutId id="2147483985" r:id="rId13"/>
    <p:sldLayoutId id="2147483986" r:id="rId14"/>
    <p:sldLayoutId id="2147483987" r:id="rId15"/>
    <p:sldLayoutId id="2147483988" r:id="rId16"/>
  </p:sldLayoutIdLst>
  <p:hf hdr="0" dt="0"/>
  <p:txStyles>
    <p:titleStyle>
      <a:lvl1pPr algn="l" defTabSz="914400" rtl="0" eaLnBrk="1" latinLnBrk="0" hangingPunct="1">
        <a:spcBef>
          <a:spcPct val="0"/>
        </a:spcBef>
        <a:buNone/>
        <a:defRPr sz="3600" kern="1200" spc="-130" baseline="0">
          <a:solidFill>
            <a:schemeClr val="tx2"/>
          </a:solidFill>
          <a:latin typeface="Arial" pitchFamily="34" charset="0"/>
          <a:ea typeface="+mj-ea"/>
          <a:cs typeface="Arial" pitchFamily="34" charset="0"/>
        </a:defRPr>
      </a:lvl1pPr>
    </p:titleStyle>
    <p:bodyStyle>
      <a:lvl1pPr marL="0" indent="0" algn="l" defTabSz="914400" rtl="0" eaLnBrk="1" latinLnBrk="0" hangingPunct="1">
        <a:spcBef>
          <a:spcPct val="20000"/>
        </a:spcBef>
        <a:buFont typeface="Arial" pitchFamily="34" charset="0"/>
        <a:buNone/>
        <a:defRPr sz="2400" b="0" kern="1200" spc="-100" baseline="0">
          <a:solidFill>
            <a:schemeClr val="accent4"/>
          </a:solidFill>
          <a:latin typeface="Arial" pitchFamily="34" charset="0"/>
          <a:ea typeface="+mn-ea"/>
          <a:cs typeface="Arial" pitchFamily="34" charset="0"/>
        </a:defRPr>
      </a:lvl1pPr>
      <a:lvl2pPr marL="174625" indent="-174625" algn="l" defTabSz="914400" rtl="0" eaLnBrk="1" latinLnBrk="0" hangingPunct="1">
        <a:spcBef>
          <a:spcPct val="20000"/>
        </a:spcBef>
        <a:buFont typeface="Arial" pitchFamily="34" charset="0"/>
        <a:buChar char="•"/>
        <a:defRPr sz="2000" b="0" kern="1200" spc="-100" baseline="0">
          <a:solidFill>
            <a:schemeClr val="accent4"/>
          </a:solidFill>
          <a:latin typeface="Arial" pitchFamily="34" charset="0"/>
          <a:ea typeface="+mn-ea"/>
          <a:cs typeface="Arial" pitchFamily="34" charset="0"/>
        </a:defRPr>
      </a:lvl2pPr>
      <a:lvl3pPr marL="446088" indent="-174625" algn="l" defTabSz="914400" rtl="0" eaLnBrk="1" latinLnBrk="0" hangingPunct="1">
        <a:spcBef>
          <a:spcPct val="20000"/>
        </a:spcBef>
        <a:buFont typeface="Arial" pitchFamily="34" charset="0"/>
        <a:buChar char="•"/>
        <a:defRPr sz="2000" kern="1200">
          <a:solidFill>
            <a:schemeClr val="accent4"/>
          </a:solidFill>
          <a:latin typeface="Arial" pitchFamily="34" charset="0"/>
          <a:ea typeface="+mn-ea"/>
          <a:cs typeface="Arial" pitchFamily="34" charset="0"/>
        </a:defRPr>
      </a:lvl3pPr>
      <a:lvl4pPr marL="719138" indent="-180975" algn="l" defTabSz="914400" rtl="0" eaLnBrk="1" latinLnBrk="0" hangingPunct="1">
        <a:spcBef>
          <a:spcPct val="20000"/>
        </a:spcBef>
        <a:buFont typeface="Arial" panose="020B0604020202020204" pitchFamily="34" charset="0"/>
        <a:buChar char="•"/>
        <a:defRPr sz="2000" kern="1200">
          <a:solidFill>
            <a:schemeClr val="accent4"/>
          </a:solidFill>
          <a:latin typeface="Arial" panose="020B0604020202020204" pitchFamily="34" charset="0"/>
          <a:ea typeface="+mn-ea"/>
          <a:cs typeface="Arial" panose="020B0604020202020204" pitchFamily="34" charset="0"/>
        </a:defRPr>
      </a:lvl4pPr>
      <a:lvl5pPr marL="1077913" indent="-179388" algn="l" defTabSz="914400" rtl="0" eaLnBrk="1" latinLnBrk="0" hangingPunct="1">
        <a:spcBef>
          <a:spcPct val="20000"/>
        </a:spcBef>
        <a:buFont typeface="Arial" panose="020B0604020202020204" pitchFamily="34" charset="0"/>
        <a:buChar char="•"/>
        <a:defRPr sz="2000" kern="120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54">
          <p15:clr>
            <a:srgbClr val="F26B43"/>
          </p15:clr>
        </p15:guide>
        <p15:guide id="2" pos="3833">
          <p15:clr>
            <a:srgbClr val="F26B43"/>
          </p15:clr>
        </p15:guide>
        <p15:guide id="3" orient="horz" pos="255">
          <p15:clr>
            <a:srgbClr val="F26B43"/>
          </p15:clr>
        </p15:guide>
        <p15:guide id="4" pos="340">
          <p15:clr>
            <a:srgbClr val="F26B43"/>
          </p15:clr>
        </p15:guide>
        <p15:guide id="5" orient="horz" pos="1021">
          <p15:clr>
            <a:srgbClr val="F26B43"/>
          </p15:clr>
        </p15:guide>
        <p15:guide id="6" pos="7326">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a:xfrm>
            <a:off x="1116335" y="6340475"/>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611576649"/>
      </p:ext>
    </p:extLst>
  </p:cSld>
  <p:clrMap bg1="lt1" tx1="dk1" bg2="lt2" tx2="dk2" accent1="accent1" accent2="accent2" accent3="accent3" accent4="accent4" accent5="accent5" accent6="accent6" hlink="hlink" folHlink="folHlink"/>
  <p:sldLayoutIdLst>
    <p:sldLayoutId id="2147483990" r:id="rId1"/>
    <p:sldLayoutId id="2147483991" r:id="rId2"/>
  </p:sldLayoutIdLst>
  <p:hf hdr="0" dt="0"/>
  <p:txStyles>
    <p:titleStyle>
      <a:lvl1pPr algn="l" defTabSz="914400" rtl="0" eaLnBrk="1" latinLnBrk="0" hangingPunct="1">
        <a:spcBef>
          <a:spcPct val="0"/>
        </a:spcBef>
        <a:buNone/>
        <a:defRPr sz="3200" kern="1200" spc="-150" baseline="0">
          <a:solidFill>
            <a:schemeClr val="bg2"/>
          </a:solidFill>
          <a:latin typeface="Arial" pitchFamily="34" charset="0"/>
          <a:ea typeface="+mj-ea"/>
          <a:cs typeface="Arial" pitchFamily="34" charset="0"/>
        </a:defRPr>
      </a:lvl1pPr>
    </p:titleStyle>
    <p:bodyStyle>
      <a:lvl1pPr marL="0" indent="0" algn="l" defTabSz="914400" rtl="0" eaLnBrk="1" latinLnBrk="0" hangingPunct="1">
        <a:spcBef>
          <a:spcPct val="20000"/>
        </a:spcBef>
        <a:buFont typeface="Arial" pitchFamily="34" charset="0"/>
        <a:buNone/>
        <a:defRPr sz="1800" b="1" kern="1200" spc="-100" baseline="0">
          <a:solidFill>
            <a:schemeClr val="bg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72319" y="408236"/>
            <a:ext cx="10297144" cy="1139825"/>
          </a:xfrm>
          <a:prstGeom prst="rect">
            <a:avLst/>
          </a:prstGeom>
        </p:spPr>
        <p:txBody>
          <a:bodyPr vert="horz" lIns="91440" tIns="45720" rIns="91440" bIns="45720" rtlCol="0" anchor="t">
            <a:noAutofit/>
          </a:bodyPr>
          <a:lstStyle/>
          <a:p>
            <a:r>
              <a:rPr lang="en-US" dirty="0"/>
              <a:t>Click to edit Master title style</a:t>
            </a:r>
            <a:endParaRPr lang="en-GB" dirty="0"/>
          </a:p>
        </p:txBody>
      </p:sp>
      <p:sp>
        <p:nvSpPr>
          <p:cNvPr id="3" name="Text Placeholder 2"/>
          <p:cNvSpPr>
            <a:spLocks noGrp="1"/>
          </p:cNvSpPr>
          <p:nvPr>
            <p:ph type="body" idx="1"/>
          </p:nvPr>
        </p:nvSpPr>
        <p:spPr>
          <a:xfrm>
            <a:off x="972319" y="2001763"/>
            <a:ext cx="10297144" cy="437083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6" name="Slide Number Placeholder 5"/>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a:defRPr sz="1200">
                <a:solidFill>
                  <a:schemeClr val="tx1">
                    <a:tint val="75000"/>
                  </a:schemeClr>
                </a:solidFill>
              </a:defRPr>
            </a:lvl1pPr>
          </a:lstStyle>
          <a:p>
            <a:fld id="{C864BB8D-94B4-466C-94BF-D114C83BF951}" type="slidenum">
              <a:rPr lang="en-GB" smtClean="0"/>
              <a:pPr/>
              <a:t>‹#›</a:t>
            </a:fld>
            <a:endParaRPr lang="en-GB"/>
          </a:p>
        </p:txBody>
      </p:sp>
      <p:sp>
        <p:nvSpPr>
          <p:cNvPr id="4"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8 – All rights reserved</a:t>
            </a:r>
            <a:endParaRPr lang="fr-FR" dirty="0"/>
          </a:p>
        </p:txBody>
      </p:sp>
    </p:spTree>
    <p:extLst>
      <p:ext uri="{BB962C8B-B14F-4D97-AF65-F5344CB8AC3E}">
        <p14:creationId xmlns:p14="http://schemas.microsoft.com/office/powerpoint/2010/main" val="1832695456"/>
      </p:ext>
    </p:extLst>
  </p:cSld>
  <p:clrMap bg1="lt1" tx1="dk1" bg2="lt2" tx2="dk2" accent1="accent1" accent2="accent2" accent3="accent3" accent4="accent4" accent5="accent5" accent6="accent6" hlink="hlink" folHlink="folHlink"/>
  <p:sldLayoutIdLst>
    <p:sldLayoutId id="2147483823" r:id="rId1"/>
    <p:sldLayoutId id="2147483838" r:id="rId2"/>
    <p:sldLayoutId id="2147483825" r:id="rId3"/>
    <p:sldLayoutId id="2147483822" r:id="rId4"/>
    <p:sldLayoutId id="2147483834" r:id="rId5"/>
    <p:sldLayoutId id="2147483837" r:id="rId6"/>
    <p:sldLayoutId id="2147483826" r:id="rId7"/>
    <p:sldLayoutId id="2147483831" r:id="rId8"/>
  </p:sldLayoutIdLst>
  <p:hf sldNum="0" hdr="0" dt="0"/>
  <p:txStyles>
    <p:titleStyle>
      <a:lvl1pPr algn="l" defTabSz="914400" rtl="0" eaLnBrk="1" latinLnBrk="0" hangingPunct="1">
        <a:spcBef>
          <a:spcPct val="0"/>
        </a:spcBef>
        <a:buNone/>
        <a:defRPr sz="4000" kern="1200" spc="-130" baseline="0">
          <a:solidFill>
            <a:schemeClr val="tx2"/>
          </a:solidFill>
          <a:latin typeface="Arial" pitchFamily="34" charset="0"/>
          <a:ea typeface="+mj-ea"/>
          <a:cs typeface="Arial" pitchFamily="34" charset="0"/>
        </a:defRPr>
      </a:lvl1pPr>
    </p:titleStyle>
    <p:bodyStyle>
      <a:lvl1pPr marL="0" indent="0" algn="l" defTabSz="914400" rtl="0" eaLnBrk="1" latinLnBrk="0" hangingPunct="1">
        <a:spcBef>
          <a:spcPct val="20000"/>
        </a:spcBef>
        <a:buFont typeface="Arial" pitchFamily="34" charset="0"/>
        <a:buNone/>
        <a:defRPr sz="2800" b="0" kern="1200" spc="-100" baseline="0">
          <a:solidFill>
            <a:schemeClr val="tx1">
              <a:lumMod val="60000"/>
              <a:lumOff val="40000"/>
            </a:schemeClr>
          </a:solidFill>
          <a:latin typeface="Arial" pitchFamily="34" charset="0"/>
          <a:ea typeface="+mn-ea"/>
          <a:cs typeface="Arial" pitchFamily="34" charset="0"/>
        </a:defRPr>
      </a:lvl1pPr>
      <a:lvl2pPr marL="174625" indent="-174625" algn="l" defTabSz="914400" rtl="0" eaLnBrk="1" latinLnBrk="0" hangingPunct="1">
        <a:spcBef>
          <a:spcPct val="20000"/>
        </a:spcBef>
        <a:buFont typeface="Arial" pitchFamily="34" charset="0"/>
        <a:buChar char="•"/>
        <a:defRPr sz="2400" b="0" kern="1200" spc="-100" baseline="0">
          <a:solidFill>
            <a:schemeClr val="tx1"/>
          </a:solidFill>
          <a:latin typeface="Arial" pitchFamily="34" charset="0"/>
          <a:ea typeface="+mn-ea"/>
          <a:cs typeface="Arial" pitchFamily="34" charset="0"/>
        </a:defRPr>
      </a:lvl2pPr>
      <a:lvl3pPr marL="446088" indent="-174625" algn="l" defTabSz="914400" rtl="0" eaLnBrk="1" latinLnBrk="0" hangingPunct="1">
        <a:spcBef>
          <a:spcPct val="20000"/>
        </a:spcBef>
        <a:buFont typeface="Arial" pitchFamily="34" charset="0"/>
        <a:buChar char="•"/>
        <a:defRPr sz="2000" kern="1200">
          <a:solidFill>
            <a:schemeClr val="tx2"/>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72319" y="408236"/>
            <a:ext cx="10297144" cy="1139825"/>
          </a:xfrm>
          <a:prstGeom prst="rect">
            <a:avLst/>
          </a:prstGeom>
        </p:spPr>
        <p:txBody>
          <a:bodyPr vert="horz" lIns="91440" tIns="45720" rIns="91440" bIns="45720" rtlCol="0" anchor="t">
            <a:noAutofit/>
          </a:bodyPr>
          <a:lstStyle/>
          <a:p>
            <a:r>
              <a:rPr lang="en-US" dirty="0"/>
              <a:t>Click to edit Master title style</a:t>
            </a:r>
            <a:endParaRPr lang="en-GB" dirty="0"/>
          </a:p>
        </p:txBody>
      </p:sp>
      <p:sp>
        <p:nvSpPr>
          <p:cNvPr id="3" name="Text Placeholder 2"/>
          <p:cNvSpPr>
            <a:spLocks noGrp="1"/>
          </p:cNvSpPr>
          <p:nvPr>
            <p:ph type="body" idx="1"/>
          </p:nvPr>
        </p:nvSpPr>
        <p:spPr>
          <a:xfrm>
            <a:off x="972319" y="2001763"/>
            <a:ext cx="10297144" cy="437083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6" name="Slide Number Placeholder 5"/>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rtl="0" fontAlgn="base">
              <a:spcBef>
                <a:spcPct val="0"/>
              </a:spcBef>
              <a:spcAft>
                <a:spcPct val="0"/>
              </a:spcAft>
              <a:defRPr lang="en-GB" sz="1000" kern="1200" smtClean="0">
                <a:solidFill>
                  <a:schemeClr val="bg1"/>
                </a:solidFill>
                <a:latin typeface="Arial" pitchFamily="34" charset="0"/>
                <a:ea typeface="+mn-ea"/>
                <a:cs typeface="Arial" pitchFamily="34" charset="0"/>
              </a:defRPr>
            </a:lvl1pPr>
          </a:lstStyle>
          <a:p>
            <a:fld id="{C864BB8D-94B4-466C-94BF-D114C83BF951}" type="slidenum">
              <a:rPr lang="sv-SE" smtClean="0"/>
              <a:pPr/>
              <a:t>‹#›</a:t>
            </a:fld>
            <a:endParaRPr lang="sv-SE" dirty="0"/>
          </a:p>
        </p:txBody>
      </p:sp>
      <p:sp>
        <p:nvSpPr>
          <p:cNvPr id="4"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488026838"/>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3999" r:id="rId7"/>
    <p:sldLayoutId id="2147484000" r:id="rId8"/>
    <p:sldLayoutId id="2147484001" r:id="rId9"/>
    <p:sldLayoutId id="2147484002" r:id="rId10"/>
    <p:sldLayoutId id="2147484003" r:id="rId11"/>
    <p:sldLayoutId id="2147484004" r:id="rId12"/>
  </p:sldLayoutIdLst>
  <p:hf hdr="0" dt="0"/>
  <p:txStyles>
    <p:titleStyle>
      <a:lvl1pPr algn="l" defTabSz="914400" rtl="0" eaLnBrk="1" latinLnBrk="0" hangingPunct="1">
        <a:spcBef>
          <a:spcPct val="0"/>
        </a:spcBef>
        <a:buNone/>
        <a:defRPr sz="3600" kern="1200" spc="-130" baseline="0">
          <a:solidFill>
            <a:schemeClr val="tx2"/>
          </a:solidFill>
          <a:latin typeface="Arial" pitchFamily="34" charset="0"/>
          <a:ea typeface="+mj-ea"/>
          <a:cs typeface="Arial" pitchFamily="34" charset="0"/>
        </a:defRPr>
      </a:lvl1pPr>
    </p:titleStyle>
    <p:bodyStyle>
      <a:lvl1pPr marL="0" indent="0" algn="l" defTabSz="914400" rtl="0" eaLnBrk="1" latinLnBrk="0" hangingPunct="1">
        <a:spcBef>
          <a:spcPct val="20000"/>
        </a:spcBef>
        <a:buFont typeface="Arial" pitchFamily="34" charset="0"/>
        <a:buNone/>
        <a:defRPr sz="2400" b="0" kern="1200" spc="-100" baseline="0">
          <a:solidFill>
            <a:schemeClr val="tx1">
              <a:lumMod val="60000"/>
              <a:lumOff val="40000"/>
            </a:schemeClr>
          </a:solidFill>
          <a:latin typeface="Arial" pitchFamily="34" charset="0"/>
          <a:ea typeface="+mn-ea"/>
          <a:cs typeface="Arial" pitchFamily="34" charset="0"/>
        </a:defRPr>
      </a:lvl1pPr>
      <a:lvl2pPr marL="174625" indent="-174625" algn="l" defTabSz="914400" rtl="0" eaLnBrk="1" latinLnBrk="0" hangingPunct="1">
        <a:spcBef>
          <a:spcPct val="20000"/>
        </a:spcBef>
        <a:buFont typeface="Arial" pitchFamily="34" charset="0"/>
        <a:buChar char="•"/>
        <a:defRPr sz="2000" b="0" kern="1200" spc="-100" baseline="0">
          <a:solidFill>
            <a:schemeClr val="tx1">
              <a:lumMod val="60000"/>
              <a:lumOff val="40000"/>
            </a:schemeClr>
          </a:solidFill>
          <a:latin typeface="Arial" pitchFamily="34" charset="0"/>
          <a:ea typeface="+mn-ea"/>
          <a:cs typeface="Arial" pitchFamily="34" charset="0"/>
        </a:defRPr>
      </a:lvl2pPr>
      <a:lvl3pPr marL="446088" indent="-174625" algn="l" defTabSz="914400" rtl="0" eaLnBrk="1" latinLnBrk="0" hangingPunct="1">
        <a:spcBef>
          <a:spcPct val="20000"/>
        </a:spcBef>
        <a:buFont typeface="Arial" pitchFamily="34" charset="0"/>
        <a:buChar char="•"/>
        <a:defRPr sz="1800" kern="1200">
          <a:solidFill>
            <a:schemeClr val="tx1">
              <a:lumMod val="60000"/>
              <a:lumOff val="40000"/>
            </a:schemeClr>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72319" y="408236"/>
            <a:ext cx="10297144" cy="1139825"/>
          </a:xfrm>
          <a:prstGeom prst="rect">
            <a:avLst/>
          </a:prstGeom>
        </p:spPr>
        <p:txBody>
          <a:bodyPr vert="horz" lIns="91440" tIns="45720" rIns="91440" bIns="45720" rtlCol="0" anchor="t">
            <a:noAutofit/>
          </a:bodyPr>
          <a:lstStyle/>
          <a:p>
            <a:r>
              <a:rPr lang="en-US"/>
              <a:t>Click to edit Master title style</a:t>
            </a:r>
            <a:endParaRPr lang="en-GB"/>
          </a:p>
        </p:txBody>
      </p:sp>
      <p:sp>
        <p:nvSpPr>
          <p:cNvPr id="3" name="Text Placeholder 2"/>
          <p:cNvSpPr>
            <a:spLocks noGrp="1"/>
          </p:cNvSpPr>
          <p:nvPr>
            <p:ph type="body" idx="1"/>
          </p:nvPr>
        </p:nvSpPr>
        <p:spPr>
          <a:xfrm>
            <a:off x="972319" y="2001763"/>
            <a:ext cx="10297144" cy="437083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
        <p:nvSpPr>
          <p:cNvPr id="6" name="Slide Number Placeholder 5"/>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a:defRPr sz="1200">
                <a:solidFill>
                  <a:schemeClr val="tx1">
                    <a:tint val="75000"/>
                  </a:schemeClr>
                </a:solidFill>
              </a:defRPr>
            </a:lvl1pPr>
          </a:lstStyle>
          <a:p>
            <a:fld id="{C864BB8D-94B4-466C-94BF-D114C83BF951}" type="slidenum">
              <a:rPr lang="en-GB" smtClean="0"/>
              <a:pPr/>
              <a:t>‹#›</a:t>
            </a:fld>
            <a:endParaRPr lang="en-GB"/>
          </a:p>
        </p:txBody>
      </p:sp>
      <p:sp>
        <p:nvSpPr>
          <p:cNvPr id="4"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
        <p:nvSpPr>
          <p:cNvPr id="7" name="TextBox 6">
            <a:extLst>
              <a:ext uri="{FF2B5EF4-FFF2-40B4-BE49-F238E27FC236}">
                <a16:creationId xmlns:a16="http://schemas.microsoft.com/office/drawing/2014/main" id="{4A8B9B04-8D4F-4625-932F-959B949D6F52}"/>
              </a:ext>
            </a:extLst>
          </p:cNvPr>
          <p:cNvSpPr txBox="1"/>
          <p:nvPr userDrawn="1"/>
        </p:nvSpPr>
        <p:spPr>
          <a:xfrm>
            <a:off x="5292799" y="6418369"/>
            <a:ext cx="2074607" cy="207749"/>
          </a:xfrm>
          <a:prstGeom prst="rect">
            <a:avLst/>
          </a:prstGeom>
          <a:noFill/>
        </p:spPr>
        <p:txBody>
          <a:bodyPr wrap="none" rtlCol="0">
            <a:spAutoFit/>
          </a:bodyPr>
          <a:lstStyle/>
          <a:p>
            <a:r>
              <a:rPr lang="en-US" sz="750">
                <a:solidFill>
                  <a:schemeClr val="tx1">
                    <a:lumMod val="40000"/>
                    <a:lumOff val="60000"/>
                  </a:schemeClr>
                </a:solidFill>
              </a:rPr>
              <a:t>Restricted material – for HL internal use only</a:t>
            </a:r>
          </a:p>
        </p:txBody>
      </p:sp>
    </p:spTree>
    <p:extLst>
      <p:ext uri="{BB962C8B-B14F-4D97-AF65-F5344CB8AC3E}">
        <p14:creationId xmlns:p14="http://schemas.microsoft.com/office/powerpoint/2010/main" val="1973047435"/>
      </p:ext>
    </p:extLst>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Lst>
  <p:hf hdr="0" dt="0"/>
  <p:txStyles>
    <p:titleStyle>
      <a:lvl1pPr algn="l" defTabSz="914400" rtl="0" eaLnBrk="1" latinLnBrk="0" hangingPunct="1">
        <a:spcBef>
          <a:spcPct val="0"/>
        </a:spcBef>
        <a:buNone/>
        <a:defRPr sz="4000" kern="1200" spc="-130" baseline="0">
          <a:solidFill>
            <a:schemeClr val="tx2"/>
          </a:solidFill>
          <a:latin typeface="Arial" pitchFamily="34" charset="0"/>
          <a:ea typeface="+mj-ea"/>
          <a:cs typeface="Arial" pitchFamily="34" charset="0"/>
        </a:defRPr>
      </a:lvl1pPr>
    </p:titleStyle>
    <p:bodyStyle>
      <a:lvl1pPr marL="0" indent="0" algn="l" defTabSz="914400" rtl="0" eaLnBrk="1" latinLnBrk="0" hangingPunct="1">
        <a:spcBef>
          <a:spcPct val="20000"/>
        </a:spcBef>
        <a:buFont typeface="Arial" pitchFamily="34" charset="0"/>
        <a:buNone/>
        <a:defRPr sz="2800" b="0" kern="1200" spc="-100" baseline="0">
          <a:solidFill>
            <a:schemeClr val="tx1">
              <a:lumMod val="60000"/>
              <a:lumOff val="40000"/>
            </a:schemeClr>
          </a:solidFill>
          <a:latin typeface="Arial" pitchFamily="34" charset="0"/>
          <a:ea typeface="+mn-ea"/>
          <a:cs typeface="Arial" pitchFamily="34" charset="0"/>
        </a:defRPr>
      </a:lvl1pPr>
      <a:lvl2pPr marL="174625" indent="-174625" algn="l" defTabSz="914400" rtl="0" eaLnBrk="1" latinLnBrk="0" hangingPunct="1">
        <a:spcBef>
          <a:spcPct val="20000"/>
        </a:spcBef>
        <a:buFont typeface="Arial" pitchFamily="34" charset="0"/>
        <a:buChar char="•"/>
        <a:defRPr sz="2400" b="0" kern="1200" spc="-100" baseline="0">
          <a:solidFill>
            <a:schemeClr val="tx1"/>
          </a:solidFill>
          <a:latin typeface="Arial" pitchFamily="34" charset="0"/>
          <a:ea typeface="+mn-ea"/>
          <a:cs typeface="Arial" pitchFamily="34" charset="0"/>
        </a:defRPr>
      </a:lvl2pPr>
      <a:lvl3pPr marL="446088" indent="-174625" algn="l" defTabSz="914400" rtl="0" eaLnBrk="1" latinLnBrk="0" hangingPunct="1">
        <a:spcBef>
          <a:spcPct val="20000"/>
        </a:spcBef>
        <a:buFont typeface="Arial" pitchFamily="34" charset="0"/>
        <a:buChar char="•"/>
        <a:defRPr sz="2000" kern="1200">
          <a:solidFill>
            <a:schemeClr val="tx2"/>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9749" y="408236"/>
            <a:ext cx="11090275" cy="1139825"/>
          </a:xfrm>
          <a:prstGeom prst="rect">
            <a:avLst/>
          </a:prstGeom>
        </p:spPr>
        <p:txBody>
          <a:bodyPr vert="horz" lIns="91440" tIns="45720" rIns="91440" bIns="4572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541858" y="1548061"/>
            <a:ext cx="11090274" cy="4175695"/>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rtl="0" fontAlgn="base">
              <a:spcBef>
                <a:spcPct val="0"/>
              </a:spcBef>
              <a:spcAft>
                <a:spcPct val="0"/>
              </a:spcAft>
              <a:defRPr lang="en-GB" sz="1000" kern="1200" smtClean="0">
                <a:solidFill>
                  <a:schemeClr val="bg1"/>
                </a:solidFill>
                <a:latin typeface="Arial" pitchFamily="34" charset="0"/>
                <a:ea typeface="+mn-ea"/>
                <a:cs typeface="Arial" pitchFamily="34" charset="0"/>
              </a:defRPr>
            </a:lvl1pPr>
          </a:lstStyle>
          <a:p>
            <a:fld id="{C864BB8D-94B4-466C-94BF-D114C83BF951}" type="slidenum">
              <a:rPr lang="sv-SE" smtClean="0"/>
              <a:pPr/>
              <a:t>‹#›</a:t>
            </a:fld>
            <a:endParaRPr lang="sv-SE" dirty="0"/>
          </a:p>
        </p:txBody>
      </p:sp>
      <p:sp>
        <p:nvSpPr>
          <p:cNvPr id="4"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2035404255"/>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 id="2147484030" r:id="rId12"/>
    <p:sldLayoutId id="2147484031" r:id="rId13"/>
    <p:sldLayoutId id="2147484032" r:id="rId14"/>
    <p:sldLayoutId id="2147484033" r:id="rId15"/>
  </p:sldLayoutIdLst>
  <p:hf hdr="0" dt="0"/>
  <p:txStyles>
    <p:titleStyle>
      <a:lvl1pPr algn="l" defTabSz="914400" rtl="0" eaLnBrk="1" latinLnBrk="0" hangingPunct="1">
        <a:spcBef>
          <a:spcPct val="0"/>
        </a:spcBef>
        <a:buNone/>
        <a:defRPr sz="3600" kern="1200" spc="-130" baseline="0">
          <a:solidFill>
            <a:schemeClr val="tx2"/>
          </a:solidFill>
          <a:latin typeface="Arial" pitchFamily="34" charset="0"/>
          <a:ea typeface="+mj-ea"/>
          <a:cs typeface="Arial" pitchFamily="34" charset="0"/>
        </a:defRPr>
      </a:lvl1pPr>
    </p:titleStyle>
    <p:bodyStyle>
      <a:lvl1pPr marL="0" indent="0" algn="l" defTabSz="914400" rtl="0" eaLnBrk="1" latinLnBrk="0" hangingPunct="1">
        <a:spcBef>
          <a:spcPct val="20000"/>
        </a:spcBef>
        <a:buFont typeface="Arial" pitchFamily="34" charset="0"/>
        <a:buNone/>
        <a:defRPr sz="2400" b="0" kern="1200" spc="-100" baseline="0">
          <a:solidFill>
            <a:schemeClr val="accent4"/>
          </a:solidFill>
          <a:latin typeface="Arial" pitchFamily="34" charset="0"/>
          <a:ea typeface="+mn-ea"/>
          <a:cs typeface="Arial" pitchFamily="34" charset="0"/>
        </a:defRPr>
      </a:lvl1pPr>
      <a:lvl2pPr marL="174625" indent="-174625" algn="l" defTabSz="914400" rtl="0" eaLnBrk="1" latinLnBrk="0" hangingPunct="1">
        <a:spcBef>
          <a:spcPct val="20000"/>
        </a:spcBef>
        <a:buFont typeface="Arial" pitchFamily="34" charset="0"/>
        <a:buChar char="•"/>
        <a:defRPr sz="2000" b="0" kern="1200" spc="-100" baseline="0">
          <a:solidFill>
            <a:schemeClr val="accent4"/>
          </a:solidFill>
          <a:latin typeface="Arial" pitchFamily="34" charset="0"/>
          <a:ea typeface="+mn-ea"/>
          <a:cs typeface="Arial" pitchFamily="34" charset="0"/>
        </a:defRPr>
      </a:lvl2pPr>
      <a:lvl3pPr marL="446088" indent="-174625" algn="l" defTabSz="914400" rtl="0" eaLnBrk="1" latinLnBrk="0" hangingPunct="1">
        <a:spcBef>
          <a:spcPct val="20000"/>
        </a:spcBef>
        <a:buFont typeface="Arial" pitchFamily="34" charset="0"/>
        <a:buChar char="•"/>
        <a:defRPr sz="2000" kern="1200">
          <a:solidFill>
            <a:schemeClr val="accent4"/>
          </a:solidFill>
          <a:latin typeface="Arial" pitchFamily="34" charset="0"/>
          <a:ea typeface="+mn-ea"/>
          <a:cs typeface="Arial" pitchFamily="34" charset="0"/>
        </a:defRPr>
      </a:lvl3pPr>
      <a:lvl4pPr marL="719138" indent="-180975" algn="l" defTabSz="914400" rtl="0" eaLnBrk="1" latinLnBrk="0" hangingPunct="1">
        <a:spcBef>
          <a:spcPct val="20000"/>
        </a:spcBef>
        <a:buFont typeface="Arial" panose="020B0604020202020204" pitchFamily="34" charset="0"/>
        <a:buChar char="•"/>
        <a:defRPr sz="2000" kern="1200">
          <a:solidFill>
            <a:schemeClr val="accent4"/>
          </a:solidFill>
          <a:latin typeface="Arial" panose="020B0604020202020204" pitchFamily="34" charset="0"/>
          <a:ea typeface="+mn-ea"/>
          <a:cs typeface="Arial" panose="020B0604020202020204" pitchFamily="34" charset="0"/>
        </a:defRPr>
      </a:lvl4pPr>
      <a:lvl5pPr marL="1077913" indent="-179388" algn="l" defTabSz="914400" rtl="0" eaLnBrk="1" latinLnBrk="0" hangingPunct="1">
        <a:spcBef>
          <a:spcPct val="20000"/>
        </a:spcBef>
        <a:buFont typeface="Arial" panose="020B0604020202020204" pitchFamily="34" charset="0"/>
        <a:buChar char="•"/>
        <a:defRPr sz="2000" kern="120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54">
          <p15:clr>
            <a:srgbClr val="F26B43"/>
          </p15:clr>
        </p15:guide>
        <p15:guide id="2" pos="3833">
          <p15:clr>
            <a:srgbClr val="F26B43"/>
          </p15:clr>
        </p15:guide>
        <p15:guide id="3" orient="horz" pos="255">
          <p15:clr>
            <a:srgbClr val="F26B43"/>
          </p15:clr>
        </p15:guide>
        <p15:guide id="4" pos="340">
          <p15:clr>
            <a:srgbClr val="F26B43"/>
          </p15:clr>
        </p15:guide>
        <p15:guide id="5" orient="horz" pos="1021">
          <p15:clr>
            <a:srgbClr val="F26B43"/>
          </p15:clr>
        </p15:guide>
        <p15:guide id="6" pos="7326">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72319" y="408236"/>
            <a:ext cx="10297144" cy="1139825"/>
          </a:xfrm>
          <a:prstGeom prst="rect">
            <a:avLst/>
          </a:prstGeom>
        </p:spPr>
        <p:txBody>
          <a:bodyPr vert="horz" lIns="91440" tIns="45720" rIns="91440" bIns="45720" rtlCol="0" anchor="t">
            <a:noAutofit/>
          </a:bodyPr>
          <a:lstStyle/>
          <a:p>
            <a:r>
              <a:rPr lang="en-US"/>
              <a:t>Click to edit Master title style</a:t>
            </a:r>
            <a:endParaRPr lang="en-GB"/>
          </a:p>
        </p:txBody>
      </p:sp>
      <p:sp>
        <p:nvSpPr>
          <p:cNvPr id="3" name="Text Placeholder 2"/>
          <p:cNvSpPr>
            <a:spLocks noGrp="1"/>
          </p:cNvSpPr>
          <p:nvPr>
            <p:ph type="body" idx="1"/>
          </p:nvPr>
        </p:nvSpPr>
        <p:spPr>
          <a:xfrm>
            <a:off x="972319" y="2001763"/>
            <a:ext cx="10297144" cy="437083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
        <p:nvSpPr>
          <p:cNvPr id="6" name="Slide Number Placeholder 5"/>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a:defRPr sz="1200">
                <a:solidFill>
                  <a:schemeClr val="tx1">
                    <a:tint val="75000"/>
                  </a:schemeClr>
                </a:solidFill>
              </a:defRPr>
            </a:lvl1pPr>
          </a:lstStyle>
          <a:p>
            <a:fld id="{C864BB8D-94B4-466C-94BF-D114C83BF951}" type="slidenum">
              <a:rPr lang="en-GB" smtClean="0"/>
              <a:pPr/>
              <a:t>‹#›</a:t>
            </a:fld>
            <a:endParaRPr lang="en-GB"/>
          </a:p>
        </p:txBody>
      </p:sp>
      <p:sp>
        <p:nvSpPr>
          <p:cNvPr id="4"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
        <p:nvSpPr>
          <p:cNvPr id="7" name="TextBox 6">
            <a:extLst>
              <a:ext uri="{FF2B5EF4-FFF2-40B4-BE49-F238E27FC236}">
                <a16:creationId xmlns:a16="http://schemas.microsoft.com/office/drawing/2014/main" id="{4A8B9B04-8D4F-4625-932F-959B949D6F52}"/>
              </a:ext>
            </a:extLst>
          </p:cNvPr>
          <p:cNvSpPr txBox="1"/>
          <p:nvPr userDrawn="1"/>
        </p:nvSpPr>
        <p:spPr>
          <a:xfrm>
            <a:off x="5292799" y="6418369"/>
            <a:ext cx="2074607" cy="207749"/>
          </a:xfrm>
          <a:prstGeom prst="rect">
            <a:avLst/>
          </a:prstGeom>
          <a:noFill/>
        </p:spPr>
        <p:txBody>
          <a:bodyPr wrap="none" rtlCol="0">
            <a:spAutoFit/>
          </a:bodyPr>
          <a:lstStyle/>
          <a:p>
            <a:r>
              <a:rPr lang="en-US" sz="750">
                <a:solidFill>
                  <a:schemeClr val="tx1">
                    <a:lumMod val="40000"/>
                    <a:lumOff val="60000"/>
                  </a:schemeClr>
                </a:solidFill>
              </a:rPr>
              <a:t>Restricted material – for HL internal use only</a:t>
            </a:r>
          </a:p>
        </p:txBody>
      </p:sp>
    </p:spTree>
    <p:extLst>
      <p:ext uri="{BB962C8B-B14F-4D97-AF65-F5344CB8AC3E}">
        <p14:creationId xmlns:p14="http://schemas.microsoft.com/office/powerpoint/2010/main" val="1362048829"/>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039" r:id="rId5"/>
    <p:sldLayoutId id="2147484040" r:id="rId6"/>
    <p:sldLayoutId id="2147484041" r:id="rId7"/>
    <p:sldLayoutId id="2147484042" r:id="rId8"/>
    <p:sldLayoutId id="2147484043" r:id="rId9"/>
    <p:sldLayoutId id="2147484045" r:id="rId10"/>
    <p:sldLayoutId id="2147484046" r:id="rId11"/>
  </p:sldLayoutIdLst>
  <p:hf hdr="0" dt="0"/>
  <p:txStyles>
    <p:titleStyle>
      <a:lvl1pPr algn="l" defTabSz="914400" rtl="0" eaLnBrk="1" latinLnBrk="0" hangingPunct="1">
        <a:spcBef>
          <a:spcPct val="0"/>
        </a:spcBef>
        <a:buNone/>
        <a:defRPr sz="4000" kern="1200" spc="-130" baseline="0">
          <a:solidFill>
            <a:schemeClr val="tx2"/>
          </a:solidFill>
          <a:latin typeface="Arial" pitchFamily="34" charset="0"/>
          <a:ea typeface="+mj-ea"/>
          <a:cs typeface="Arial" pitchFamily="34" charset="0"/>
        </a:defRPr>
      </a:lvl1pPr>
    </p:titleStyle>
    <p:bodyStyle>
      <a:lvl1pPr marL="0" indent="0" algn="l" defTabSz="914400" rtl="0" eaLnBrk="1" latinLnBrk="0" hangingPunct="1">
        <a:spcBef>
          <a:spcPct val="20000"/>
        </a:spcBef>
        <a:buFont typeface="Arial" pitchFamily="34" charset="0"/>
        <a:buNone/>
        <a:defRPr sz="2800" b="0" kern="1200" spc="-100" baseline="0">
          <a:solidFill>
            <a:schemeClr val="tx1">
              <a:lumMod val="60000"/>
              <a:lumOff val="40000"/>
            </a:schemeClr>
          </a:solidFill>
          <a:latin typeface="Arial" pitchFamily="34" charset="0"/>
          <a:ea typeface="+mn-ea"/>
          <a:cs typeface="Arial" pitchFamily="34" charset="0"/>
        </a:defRPr>
      </a:lvl1pPr>
      <a:lvl2pPr marL="174625" indent="-174625" algn="l" defTabSz="914400" rtl="0" eaLnBrk="1" latinLnBrk="0" hangingPunct="1">
        <a:spcBef>
          <a:spcPct val="20000"/>
        </a:spcBef>
        <a:buFont typeface="Arial" pitchFamily="34" charset="0"/>
        <a:buChar char="•"/>
        <a:defRPr sz="2400" b="0" kern="1200" spc="-100" baseline="0">
          <a:solidFill>
            <a:schemeClr val="tx1"/>
          </a:solidFill>
          <a:latin typeface="Arial" pitchFamily="34" charset="0"/>
          <a:ea typeface="+mn-ea"/>
          <a:cs typeface="Arial" pitchFamily="34" charset="0"/>
        </a:defRPr>
      </a:lvl2pPr>
      <a:lvl3pPr marL="446088" indent="-174625" algn="l" defTabSz="914400" rtl="0" eaLnBrk="1" latinLnBrk="0" hangingPunct="1">
        <a:spcBef>
          <a:spcPct val="20000"/>
        </a:spcBef>
        <a:buFont typeface="Arial" pitchFamily="34" charset="0"/>
        <a:buChar char="•"/>
        <a:defRPr sz="2000" kern="1200">
          <a:solidFill>
            <a:schemeClr val="tx2"/>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9749" y="408236"/>
            <a:ext cx="11090275" cy="1139825"/>
          </a:xfrm>
          <a:prstGeom prst="rect">
            <a:avLst/>
          </a:prstGeom>
        </p:spPr>
        <p:txBody>
          <a:bodyPr vert="horz" lIns="91440" tIns="45720" rIns="91440" bIns="4572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541858" y="1548061"/>
            <a:ext cx="11090274" cy="4175695"/>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rtl="0" fontAlgn="base">
              <a:spcBef>
                <a:spcPct val="0"/>
              </a:spcBef>
              <a:spcAft>
                <a:spcPct val="0"/>
              </a:spcAft>
              <a:defRPr lang="en-GB" sz="1000" kern="1200" smtClean="0">
                <a:solidFill>
                  <a:schemeClr val="bg1"/>
                </a:solidFill>
                <a:latin typeface="Arial" pitchFamily="34" charset="0"/>
                <a:ea typeface="+mn-ea"/>
                <a:cs typeface="Arial" pitchFamily="34" charset="0"/>
              </a:defRPr>
            </a:lvl1pPr>
          </a:lstStyle>
          <a:p>
            <a:fld id="{C864BB8D-94B4-466C-94BF-D114C83BF951}" type="slidenum">
              <a:rPr lang="sv-SE" smtClean="0"/>
              <a:pPr/>
              <a:t>‹#›</a:t>
            </a:fld>
            <a:endParaRPr lang="sv-SE" dirty="0"/>
          </a:p>
        </p:txBody>
      </p:sp>
      <p:sp>
        <p:nvSpPr>
          <p:cNvPr id="4"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9 – All rights reserved</a:t>
            </a:r>
            <a:endParaRPr lang="fr-FR" dirty="0"/>
          </a:p>
        </p:txBody>
      </p:sp>
    </p:spTree>
    <p:extLst>
      <p:ext uri="{BB962C8B-B14F-4D97-AF65-F5344CB8AC3E}">
        <p14:creationId xmlns:p14="http://schemas.microsoft.com/office/powerpoint/2010/main" val="1254175662"/>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059" r:id="rId12"/>
    <p:sldLayoutId id="2147484060" r:id="rId13"/>
    <p:sldLayoutId id="2147484061" r:id="rId14"/>
    <p:sldLayoutId id="2147484062" r:id="rId15"/>
  </p:sldLayoutIdLst>
  <p:hf hdr="0" dt="0"/>
  <p:txStyles>
    <p:titleStyle>
      <a:lvl1pPr algn="l" defTabSz="914400" rtl="0" eaLnBrk="1" latinLnBrk="0" hangingPunct="1">
        <a:spcBef>
          <a:spcPct val="0"/>
        </a:spcBef>
        <a:buNone/>
        <a:defRPr sz="3600" kern="1200" spc="-130" baseline="0">
          <a:solidFill>
            <a:schemeClr val="tx2"/>
          </a:solidFill>
          <a:latin typeface="Arial" pitchFamily="34" charset="0"/>
          <a:ea typeface="+mj-ea"/>
          <a:cs typeface="Arial" pitchFamily="34" charset="0"/>
        </a:defRPr>
      </a:lvl1pPr>
    </p:titleStyle>
    <p:bodyStyle>
      <a:lvl1pPr marL="0" indent="0" algn="l" defTabSz="914400" rtl="0" eaLnBrk="1" latinLnBrk="0" hangingPunct="1">
        <a:spcBef>
          <a:spcPct val="20000"/>
        </a:spcBef>
        <a:buFont typeface="Arial" pitchFamily="34" charset="0"/>
        <a:buNone/>
        <a:defRPr sz="2400" b="0" kern="1200" spc="-100" baseline="0">
          <a:solidFill>
            <a:schemeClr val="accent4"/>
          </a:solidFill>
          <a:latin typeface="Arial" pitchFamily="34" charset="0"/>
          <a:ea typeface="+mn-ea"/>
          <a:cs typeface="Arial" pitchFamily="34" charset="0"/>
        </a:defRPr>
      </a:lvl1pPr>
      <a:lvl2pPr marL="174625" indent="-174625" algn="l" defTabSz="914400" rtl="0" eaLnBrk="1" latinLnBrk="0" hangingPunct="1">
        <a:spcBef>
          <a:spcPct val="20000"/>
        </a:spcBef>
        <a:buFont typeface="Arial" pitchFamily="34" charset="0"/>
        <a:buChar char="•"/>
        <a:defRPr sz="2000" b="0" kern="1200" spc="-100" baseline="0">
          <a:solidFill>
            <a:schemeClr val="accent4"/>
          </a:solidFill>
          <a:latin typeface="Arial" pitchFamily="34" charset="0"/>
          <a:ea typeface="+mn-ea"/>
          <a:cs typeface="Arial" pitchFamily="34" charset="0"/>
        </a:defRPr>
      </a:lvl2pPr>
      <a:lvl3pPr marL="446088" indent="-174625" algn="l" defTabSz="914400" rtl="0" eaLnBrk="1" latinLnBrk="0" hangingPunct="1">
        <a:spcBef>
          <a:spcPct val="20000"/>
        </a:spcBef>
        <a:buFont typeface="Arial" pitchFamily="34" charset="0"/>
        <a:buChar char="•"/>
        <a:defRPr sz="2000" kern="1200">
          <a:solidFill>
            <a:schemeClr val="accent4"/>
          </a:solidFill>
          <a:latin typeface="Arial" pitchFamily="34" charset="0"/>
          <a:ea typeface="+mn-ea"/>
          <a:cs typeface="Arial" pitchFamily="34" charset="0"/>
        </a:defRPr>
      </a:lvl3pPr>
      <a:lvl4pPr marL="719138" indent="-180975" algn="l" defTabSz="914400" rtl="0" eaLnBrk="1" latinLnBrk="0" hangingPunct="1">
        <a:spcBef>
          <a:spcPct val="20000"/>
        </a:spcBef>
        <a:buFont typeface="Arial" panose="020B0604020202020204" pitchFamily="34" charset="0"/>
        <a:buChar char="•"/>
        <a:defRPr sz="2000" kern="1200">
          <a:solidFill>
            <a:schemeClr val="accent4"/>
          </a:solidFill>
          <a:latin typeface="Arial" panose="020B0604020202020204" pitchFamily="34" charset="0"/>
          <a:ea typeface="+mn-ea"/>
          <a:cs typeface="Arial" panose="020B0604020202020204" pitchFamily="34" charset="0"/>
        </a:defRPr>
      </a:lvl4pPr>
      <a:lvl5pPr marL="1077913" indent="-179388" algn="l" defTabSz="914400" rtl="0" eaLnBrk="1" latinLnBrk="0" hangingPunct="1">
        <a:spcBef>
          <a:spcPct val="20000"/>
        </a:spcBef>
        <a:buFont typeface="Arial" panose="020B0604020202020204" pitchFamily="34" charset="0"/>
        <a:buChar char="•"/>
        <a:defRPr sz="2000" kern="120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54">
          <p15:clr>
            <a:srgbClr val="F26B43"/>
          </p15:clr>
        </p15:guide>
        <p15:guide id="2" pos="3833">
          <p15:clr>
            <a:srgbClr val="F26B43"/>
          </p15:clr>
        </p15:guide>
        <p15:guide id="3" orient="horz" pos="255">
          <p15:clr>
            <a:srgbClr val="F26B43"/>
          </p15:clr>
        </p15:guide>
        <p15:guide id="4" pos="340">
          <p15:clr>
            <a:srgbClr val="F26B43"/>
          </p15:clr>
        </p15:guide>
        <p15:guide id="5" orient="horz" pos="1021">
          <p15:clr>
            <a:srgbClr val="F26B43"/>
          </p15:clr>
        </p15:guide>
        <p15:guide id="6" pos="732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4" name="TextBox 3"/>
          <p:cNvSpPr txBox="1"/>
          <p:nvPr userDrawn="1"/>
        </p:nvSpPr>
        <p:spPr>
          <a:xfrm>
            <a:off x="972319" y="6286949"/>
            <a:ext cx="6192688" cy="215444"/>
          </a:xfrm>
          <a:prstGeom prst="rect">
            <a:avLst/>
          </a:prstGeom>
          <a:noFill/>
        </p:spPr>
        <p:txBody>
          <a:bodyPr wrap="square" rtlCol="0">
            <a:spAutoFit/>
          </a:bodyPr>
          <a:lstStyle/>
          <a:p>
            <a:r>
              <a:rPr lang="en-GB" sz="800" dirty="0">
                <a:solidFill>
                  <a:schemeClr val="bg1"/>
                </a:solidFill>
                <a:latin typeface="Helvetica LT Std Light" panose="020B0403020202020204" pitchFamily="34" charset="0"/>
              </a:rPr>
              <a:t>©</a:t>
            </a:r>
            <a:r>
              <a:rPr lang="en-GB" sz="800" baseline="0" dirty="0">
                <a:solidFill>
                  <a:schemeClr val="bg1"/>
                </a:solidFill>
                <a:latin typeface="Helvetica LT Std Light" panose="020B0403020202020204" pitchFamily="34" charset="0"/>
              </a:rPr>
              <a:t> HL Display 2018 – All rights reserved</a:t>
            </a:r>
            <a:endParaRPr lang="en-GB" sz="800" dirty="0">
              <a:solidFill>
                <a:schemeClr val="bg1"/>
              </a:solidFill>
              <a:latin typeface="Helvetica LT Std Light" panose="020B0403020202020204" pitchFamily="34" charset="0"/>
            </a:endParaRPr>
          </a:p>
        </p:txBody>
      </p:sp>
    </p:spTree>
    <p:extLst>
      <p:ext uri="{BB962C8B-B14F-4D97-AF65-F5344CB8AC3E}">
        <p14:creationId xmlns:p14="http://schemas.microsoft.com/office/powerpoint/2010/main" val="3844545801"/>
      </p:ext>
    </p:extLst>
  </p:cSld>
  <p:clrMap bg1="lt1" tx1="dk1" bg2="lt2" tx2="dk2" accent1="accent1" accent2="accent2" accent3="accent3" accent4="accent4" accent5="accent5" accent6="accent6" hlink="hlink" folHlink="folHlink"/>
  <p:sldLayoutIdLst>
    <p:sldLayoutId id="2147483923" r:id="rId1"/>
  </p:sldLayoutIdLst>
  <p:txStyles>
    <p:titleStyle>
      <a:lvl1pPr algn="l" defTabSz="914400" rtl="0" eaLnBrk="1" latinLnBrk="0" hangingPunct="1">
        <a:spcBef>
          <a:spcPct val="0"/>
        </a:spcBef>
        <a:buNone/>
        <a:defRPr sz="3200" kern="1200" spc="-150" baseline="0">
          <a:solidFill>
            <a:schemeClr val="bg2"/>
          </a:solidFill>
          <a:latin typeface="Arial" pitchFamily="34" charset="0"/>
          <a:ea typeface="+mj-ea"/>
          <a:cs typeface="Arial" pitchFamily="34" charset="0"/>
        </a:defRPr>
      </a:lvl1pPr>
    </p:titleStyle>
    <p:bodyStyle>
      <a:lvl1pPr marL="0" indent="0" algn="l" defTabSz="914400" rtl="0" eaLnBrk="1" latinLnBrk="0" hangingPunct="1">
        <a:spcBef>
          <a:spcPct val="20000"/>
        </a:spcBef>
        <a:buFont typeface="Arial" pitchFamily="34" charset="0"/>
        <a:buNone/>
        <a:defRPr sz="1800" b="1" kern="1200" spc="-100" baseline="0">
          <a:solidFill>
            <a:schemeClr val="bg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468263" y="6369099"/>
            <a:ext cx="504056" cy="363538"/>
          </a:xfrm>
          <a:prstGeom prst="rect">
            <a:avLst/>
          </a:prstGeom>
        </p:spPr>
        <p:txBody>
          <a:bodyPr vert="horz" lIns="91440" tIns="45720" rIns="91440" bIns="45720" rtlCol="0" anchor="ctr"/>
          <a:lstStyle>
            <a:lvl1pPr algn="l">
              <a:defRPr sz="1200">
                <a:solidFill>
                  <a:schemeClr val="bg1"/>
                </a:solidFill>
              </a:defRPr>
            </a:lvl1pPr>
          </a:lstStyle>
          <a:p>
            <a:fld id="{AF8C7990-448D-4BE6-98CB-96C0E2D6ABC1}" type="slidenum">
              <a:rPr lang="en-GB" smtClean="0"/>
              <a:pPr/>
              <a:t>‹#›</a:t>
            </a:fld>
            <a:endParaRPr lang="en-GB" dirty="0"/>
          </a:p>
        </p:txBody>
      </p:sp>
      <p:sp>
        <p:nvSpPr>
          <p:cNvPr id="2" name="Footer Placeholder 1"/>
          <p:cNvSpPr>
            <a:spLocks noGrp="1"/>
          </p:cNvSpPr>
          <p:nvPr>
            <p:ph type="ftr" sz="quarter" idx="3"/>
          </p:nvPr>
        </p:nvSpPr>
        <p:spPr>
          <a:xfrm>
            <a:off x="1116335" y="6340475"/>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dirty="0"/>
              <a:t>© HL Display 2018 – All rights reserved</a:t>
            </a:r>
            <a:endParaRPr lang="fr-FR" dirty="0"/>
          </a:p>
        </p:txBody>
      </p:sp>
    </p:spTree>
    <p:extLst>
      <p:ext uri="{BB962C8B-B14F-4D97-AF65-F5344CB8AC3E}">
        <p14:creationId xmlns:p14="http://schemas.microsoft.com/office/powerpoint/2010/main" val="2067612245"/>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Lst>
  <p:hf hdr="0" dt="0"/>
  <p:txStyles>
    <p:titleStyle>
      <a:lvl1pPr algn="l" defTabSz="914400" rtl="0" eaLnBrk="1" latinLnBrk="0" hangingPunct="1">
        <a:spcBef>
          <a:spcPct val="0"/>
        </a:spcBef>
        <a:buNone/>
        <a:defRPr sz="3200" kern="1200" spc="-150" baseline="0">
          <a:solidFill>
            <a:schemeClr val="bg2"/>
          </a:solidFill>
          <a:latin typeface="Arial" pitchFamily="34" charset="0"/>
          <a:ea typeface="+mj-ea"/>
          <a:cs typeface="Arial" pitchFamily="34" charset="0"/>
        </a:defRPr>
      </a:lvl1pPr>
    </p:titleStyle>
    <p:bodyStyle>
      <a:lvl1pPr marL="0" indent="0" algn="l" defTabSz="914400" rtl="0" eaLnBrk="1" latinLnBrk="0" hangingPunct="1">
        <a:spcBef>
          <a:spcPct val="20000"/>
        </a:spcBef>
        <a:buFont typeface="Arial" pitchFamily="34" charset="0"/>
        <a:buNone/>
        <a:defRPr sz="1800" b="1" kern="1200" spc="-100" baseline="0">
          <a:solidFill>
            <a:schemeClr val="bg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69BFBB8-99A8-4D5A-8E79-8A9D44C64274}"/>
              </a:ext>
            </a:extLst>
          </p:cNvPr>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4" imgW="353" imgH="353" progId="TCLayout.ActiveDocument.1">
                  <p:embed/>
                </p:oleObj>
              </mc:Choice>
              <mc:Fallback>
                <p:oleObj name="think-cell Slide" r:id="rId14" imgW="353" imgH="353" progId="TCLayout.ActiveDocument.1">
                  <p:embed/>
                  <p:pic>
                    <p:nvPicPr>
                      <p:cNvPr id="7" name="Object 6" hidden="1">
                        <a:extLst>
                          <a:ext uri="{FF2B5EF4-FFF2-40B4-BE49-F238E27FC236}">
                            <a16:creationId xmlns:a16="http://schemas.microsoft.com/office/drawing/2014/main" id="{D69BFBB8-99A8-4D5A-8E79-8A9D44C6427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F87DE6A-EEA2-4A62-95D8-238171A7D983}"/>
              </a:ext>
            </a:extLst>
          </p:cNvPr>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40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972319" y="408236"/>
            <a:ext cx="10297144" cy="1139825"/>
          </a:xfrm>
          <a:prstGeom prst="rect">
            <a:avLst/>
          </a:prstGeom>
        </p:spPr>
        <p:txBody>
          <a:bodyPr vert="horz" lIns="91440" tIns="45720" rIns="91440" bIns="45720" rtlCol="0" anchor="t">
            <a:noAutofit/>
          </a:bodyPr>
          <a:lstStyle/>
          <a:p>
            <a:r>
              <a:rPr lang="en-US"/>
              <a:t>Click to edit Master title style</a:t>
            </a:r>
            <a:endParaRPr lang="en-GB"/>
          </a:p>
        </p:txBody>
      </p:sp>
      <p:sp>
        <p:nvSpPr>
          <p:cNvPr id="3" name="Text Placeholder 2"/>
          <p:cNvSpPr>
            <a:spLocks noGrp="1"/>
          </p:cNvSpPr>
          <p:nvPr>
            <p:ph type="body" idx="1"/>
          </p:nvPr>
        </p:nvSpPr>
        <p:spPr>
          <a:xfrm>
            <a:off x="972319" y="2001763"/>
            <a:ext cx="10297144" cy="437083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
        <p:nvSpPr>
          <p:cNvPr id="6" name="Slide Number Placeholder 5"/>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a:defRPr sz="1200">
                <a:solidFill>
                  <a:schemeClr val="tx1">
                    <a:tint val="75000"/>
                  </a:schemeClr>
                </a:solidFill>
              </a:defRPr>
            </a:lvl1pPr>
          </a:lstStyle>
          <a:p>
            <a:fld id="{C864BB8D-94B4-466C-94BF-D114C83BF951}" type="slidenum">
              <a:rPr lang="en-GB" smtClean="0"/>
              <a:pPr/>
              <a:t>‹#›</a:t>
            </a:fld>
            <a:endParaRPr lang="en-GB"/>
          </a:p>
        </p:txBody>
      </p:sp>
    </p:spTree>
    <p:extLst>
      <p:ext uri="{BB962C8B-B14F-4D97-AF65-F5344CB8AC3E}">
        <p14:creationId xmlns:p14="http://schemas.microsoft.com/office/powerpoint/2010/main" val="1793684984"/>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Lst>
  <p:hf sldNum="0" hdr="0" dt="0"/>
  <p:txStyles>
    <p:titleStyle>
      <a:lvl1pPr algn="l" defTabSz="914400" rtl="0" eaLnBrk="1" latinLnBrk="0" hangingPunct="1">
        <a:spcBef>
          <a:spcPct val="0"/>
        </a:spcBef>
        <a:buNone/>
        <a:defRPr sz="4000" kern="1200" spc="-130" baseline="0">
          <a:solidFill>
            <a:schemeClr val="tx2"/>
          </a:solidFill>
          <a:latin typeface="Arial" pitchFamily="34" charset="0"/>
          <a:ea typeface="+mj-ea"/>
          <a:cs typeface="Arial" pitchFamily="34" charset="0"/>
        </a:defRPr>
      </a:lvl1pPr>
    </p:titleStyle>
    <p:bodyStyle>
      <a:lvl1pPr marL="0" indent="0" algn="l" defTabSz="914400" rtl="0" eaLnBrk="1" latinLnBrk="0" hangingPunct="1">
        <a:spcBef>
          <a:spcPct val="20000"/>
        </a:spcBef>
        <a:buFont typeface="Arial" pitchFamily="34" charset="0"/>
        <a:buNone/>
        <a:defRPr sz="2800" b="0" kern="1200" spc="-100" baseline="0">
          <a:solidFill>
            <a:schemeClr val="tx1">
              <a:lumMod val="60000"/>
              <a:lumOff val="40000"/>
            </a:schemeClr>
          </a:solidFill>
          <a:latin typeface="Arial" pitchFamily="34" charset="0"/>
          <a:ea typeface="+mn-ea"/>
          <a:cs typeface="Arial" pitchFamily="34" charset="0"/>
        </a:defRPr>
      </a:lvl1pPr>
      <a:lvl2pPr marL="174625" indent="-174625" algn="l" defTabSz="914400" rtl="0" eaLnBrk="1" latinLnBrk="0" hangingPunct="1">
        <a:spcBef>
          <a:spcPct val="20000"/>
        </a:spcBef>
        <a:buFont typeface="Arial" pitchFamily="34" charset="0"/>
        <a:buChar char="•"/>
        <a:defRPr sz="2400" b="0" kern="1200" spc="-100" baseline="0">
          <a:solidFill>
            <a:schemeClr val="tx1"/>
          </a:solidFill>
          <a:latin typeface="Arial" pitchFamily="34" charset="0"/>
          <a:ea typeface="+mn-ea"/>
          <a:cs typeface="Arial" pitchFamily="34" charset="0"/>
        </a:defRPr>
      </a:lvl2pPr>
      <a:lvl3pPr marL="446088" indent="-174625" algn="l" defTabSz="914400" rtl="0" eaLnBrk="1" latinLnBrk="0" hangingPunct="1">
        <a:spcBef>
          <a:spcPct val="20000"/>
        </a:spcBef>
        <a:buFont typeface="Arial" pitchFamily="34" charset="0"/>
        <a:buChar char="•"/>
        <a:defRPr sz="2000" kern="1200">
          <a:solidFill>
            <a:schemeClr val="tx2"/>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alpha val="0"/>
          </a:schemeClr>
        </a:solidFill>
        <a:effectLst/>
      </p:bgPr>
    </p:bg>
    <p:spTree>
      <p:nvGrpSpPr>
        <p:cNvPr id="1" name=""/>
        <p:cNvGrpSpPr/>
        <p:nvPr/>
      </p:nvGrpSpPr>
      <p:grpSpPr>
        <a:xfrm>
          <a:off x="0" y="0"/>
          <a:ext cx="0" cy="0"/>
          <a:chOff x="0" y="0"/>
          <a:chExt cx="0" cy="0"/>
        </a:xfrm>
      </p:grpSpPr>
      <p:sp>
        <p:nvSpPr>
          <p:cNvPr id="4" name="TextBox 3"/>
          <p:cNvSpPr txBox="1"/>
          <p:nvPr userDrawn="1"/>
        </p:nvSpPr>
        <p:spPr>
          <a:xfrm>
            <a:off x="972319" y="6286949"/>
            <a:ext cx="6192688" cy="215444"/>
          </a:xfrm>
          <a:prstGeom prst="rect">
            <a:avLst/>
          </a:prstGeom>
          <a:noFill/>
        </p:spPr>
        <p:txBody>
          <a:bodyPr wrap="square" rtlCol="0">
            <a:spAutoFit/>
          </a:bodyPr>
          <a:lstStyle/>
          <a:p>
            <a:r>
              <a:rPr lang="en-GB" sz="800">
                <a:solidFill>
                  <a:schemeClr val="bg1"/>
                </a:solidFill>
                <a:latin typeface="Helvetica LT Std Light" panose="020B0403020202020204" pitchFamily="34" charset="0"/>
              </a:rPr>
              <a:t>©</a:t>
            </a:r>
            <a:r>
              <a:rPr lang="en-GB" sz="800" baseline="0">
                <a:solidFill>
                  <a:schemeClr val="bg1"/>
                </a:solidFill>
                <a:latin typeface="Helvetica LT Std Light" panose="020B0403020202020204" pitchFamily="34" charset="0"/>
              </a:rPr>
              <a:t> HL Display 2017 – All rights reserved</a:t>
            </a:r>
            <a:endParaRPr lang="en-GB" sz="800">
              <a:solidFill>
                <a:schemeClr val="bg1"/>
              </a:solidFill>
              <a:latin typeface="Helvetica LT Std Light" panose="020B0403020202020204" pitchFamily="34" charset="0"/>
            </a:endParaRPr>
          </a:p>
        </p:txBody>
      </p:sp>
    </p:spTree>
    <p:extLst>
      <p:ext uri="{BB962C8B-B14F-4D97-AF65-F5344CB8AC3E}">
        <p14:creationId xmlns:p14="http://schemas.microsoft.com/office/powerpoint/2010/main" val="164277246"/>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5" r:id="rId4"/>
    <p:sldLayoutId id="2147483876" r:id="rId5"/>
    <p:sldLayoutId id="2147483877" r:id="rId6"/>
    <p:sldLayoutId id="2147483878" r:id="rId7"/>
  </p:sldLayoutIdLst>
  <p:txStyles>
    <p:titleStyle>
      <a:lvl1pPr algn="l" defTabSz="914400" rtl="0" eaLnBrk="1" latinLnBrk="0" hangingPunct="1">
        <a:spcBef>
          <a:spcPct val="0"/>
        </a:spcBef>
        <a:buNone/>
        <a:defRPr sz="3200" kern="1200" spc="-150" baseline="0">
          <a:solidFill>
            <a:schemeClr val="bg2"/>
          </a:solidFill>
          <a:latin typeface="Arial" pitchFamily="34" charset="0"/>
          <a:ea typeface="+mj-ea"/>
          <a:cs typeface="Arial" pitchFamily="34" charset="0"/>
        </a:defRPr>
      </a:lvl1pPr>
    </p:titleStyle>
    <p:bodyStyle>
      <a:lvl1pPr marL="0" indent="0" algn="l" defTabSz="914400" rtl="0" eaLnBrk="1" latinLnBrk="0" hangingPunct="1">
        <a:spcBef>
          <a:spcPct val="20000"/>
        </a:spcBef>
        <a:buFont typeface="Arial" pitchFamily="34" charset="0"/>
        <a:buNone/>
        <a:defRPr sz="1800" b="1" kern="1200" spc="-100" baseline="0">
          <a:solidFill>
            <a:schemeClr val="bg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72319" y="408236"/>
            <a:ext cx="10297144" cy="1139825"/>
          </a:xfrm>
          <a:prstGeom prst="rect">
            <a:avLst/>
          </a:prstGeom>
        </p:spPr>
        <p:txBody>
          <a:bodyPr vert="horz" lIns="91440" tIns="45720" rIns="91440" bIns="45720" rtlCol="0" anchor="t">
            <a:noAutofit/>
          </a:bodyPr>
          <a:lstStyle/>
          <a:p>
            <a:r>
              <a:rPr lang="en-US"/>
              <a:t>Click to edit Master title style</a:t>
            </a:r>
            <a:endParaRPr lang="en-GB"/>
          </a:p>
        </p:txBody>
      </p:sp>
      <p:sp>
        <p:nvSpPr>
          <p:cNvPr id="3" name="Text Placeholder 2"/>
          <p:cNvSpPr>
            <a:spLocks noGrp="1"/>
          </p:cNvSpPr>
          <p:nvPr>
            <p:ph type="body" idx="1"/>
          </p:nvPr>
        </p:nvSpPr>
        <p:spPr>
          <a:xfrm>
            <a:off x="972319" y="2001763"/>
            <a:ext cx="10297144" cy="437083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
        <p:nvSpPr>
          <p:cNvPr id="6" name="Slide Number Placeholder 5"/>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a:defRPr sz="1200">
                <a:solidFill>
                  <a:schemeClr val="tx1">
                    <a:tint val="75000"/>
                  </a:schemeClr>
                </a:solidFill>
              </a:defRPr>
            </a:lvl1pPr>
          </a:lstStyle>
          <a:p>
            <a:fld id="{C864BB8D-94B4-466C-94BF-D114C83BF951}" type="slidenum">
              <a:rPr lang="en-GB" smtClean="0"/>
              <a:pPr/>
              <a:t>‹#›</a:t>
            </a:fld>
            <a:endParaRPr lang="en-GB"/>
          </a:p>
        </p:txBody>
      </p:sp>
      <p:sp>
        <p:nvSpPr>
          <p:cNvPr id="4"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9 – All rights reserved</a:t>
            </a:r>
            <a:endParaRPr lang="fr-FR"/>
          </a:p>
        </p:txBody>
      </p:sp>
    </p:spTree>
    <p:extLst>
      <p:ext uri="{BB962C8B-B14F-4D97-AF65-F5344CB8AC3E}">
        <p14:creationId xmlns:p14="http://schemas.microsoft.com/office/powerpoint/2010/main" val="1315681921"/>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Lst>
  <p:hf hdr="0" dt="0"/>
  <p:txStyles>
    <p:titleStyle>
      <a:lvl1pPr algn="l" defTabSz="914400" rtl="0" eaLnBrk="1" latinLnBrk="0" hangingPunct="1">
        <a:spcBef>
          <a:spcPct val="0"/>
        </a:spcBef>
        <a:buNone/>
        <a:defRPr sz="4000" kern="1200" spc="-130" baseline="0">
          <a:solidFill>
            <a:schemeClr val="tx2"/>
          </a:solidFill>
          <a:latin typeface="Arial" pitchFamily="34" charset="0"/>
          <a:ea typeface="+mj-ea"/>
          <a:cs typeface="Arial" pitchFamily="34" charset="0"/>
        </a:defRPr>
      </a:lvl1pPr>
    </p:titleStyle>
    <p:bodyStyle>
      <a:lvl1pPr marL="0" indent="0" algn="l" defTabSz="914400" rtl="0" eaLnBrk="1" latinLnBrk="0" hangingPunct="1">
        <a:spcBef>
          <a:spcPct val="20000"/>
        </a:spcBef>
        <a:buFont typeface="Arial" pitchFamily="34" charset="0"/>
        <a:buNone/>
        <a:defRPr sz="2800" b="0" kern="1200" spc="-100" baseline="0">
          <a:solidFill>
            <a:schemeClr val="tx1">
              <a:lumMod val="60000"/>
              <a:lumOff val="40000"/>
            </a:schemeClr>
          </a:solidFill>
          <a:latin typeface="Arial" pitchFamily="34" charset="0"/>
          <a:ea typeface="+mn-ea"/>
          <a:cs typeface="Arial" pitchFamily="34" charset="0"/>
        </a:defRPr>
      </a:lvl1pPr>
      <a:lvl2pPr marL="174625" indent="-174625" algn="l" defTabSz="914400" rtl="0" eaLnBrk="1" latinLnBrk="0" hangingPunct="1">
        <a:spcBef>
          <a:spcPct val="20000"/>
        </a:spcBef>
        <a:buFont typeface="Arial" pitchFamily="34" charset="0"/>
        <a:buChar char="•"/>
        <a:defRPr sz="2400" b="0" kern="1200" spc="-100" baseline="0">
          <a:solidFill>
            <a:schemeClr val="tx1"/>
          </a:solidFill>
          <a:latin typeface="Arial" pitchFamily="34" charset="0"/>
          <a:ea typeface="+mn-ea"/>
          <a:cs typeface="Arial" pitchFamily="34" charset="0"/>
        </a:defRPr>
      </a:lvl2pPr>
      <a:lvl3pPr marL="446088" indent="-174625" algn="l" defTabSz="914400" rtl="0" eaLnBrk="1" latinLnBrk="0" hangingPunct="1">
        <a:spcBef>
          <a:spcPct val="20000"/>
        </a:spcBef>
        <a:buFont typeface="Arial" pitchFamily="34" charset="0"/>
        <a:buChar char="•"/>
        <a:defRPr sz="2000" kern="1200">
          <a:solidFill>
            <a:schemeClr val="tx2"/>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468263" y="6369099"/>
            <a:ext cx="504056" cy="363538"/>
          </a:xfrm>
          <a:prstGeom prst="rect">
            <a:avLst/>
          </a:prstGeom>
        </p:spPr>
        <p:txBody>
          <a:bodyPr vert="horz" lIns="91440" tIns="45720" rIns="91440" bIns="45720" rtlCol="0" anchor="ctr"/>
          <a:lstStyle>
            <a:lvl1pPr algn="l">
              <a:defRPr sz="1200">
                <a:solidFill>
                  <a:schemeClr val="tx1">
                    <a:tint val="75000"/>
                  </a:schemeClr>
                </a:solidFill>
              </a:defRPr>
            </a:lvl1pPr>
          </a:lstStyle>
          <a:p>
            <a:fld id="{AF8C7990-448D-4BE6-98CB-96C0E2D6ABC1}" type="slidenum">
              <a:rPr lang="en-GB" smtClean="0"/>
              <a:pPr/>
              <a:t>‹#›</a:t>
            </a:fld>
            <a:endParaRPr lang="en-GB"/>
          </a:p>
        </p:txBody>
      </p:sp>
      <p:sp>
        <p:nvSpPr>
          <p:cNvPr id="2" name="Footer Placeholder 1"/>
          <p:cNvSpPr>
            <a:spLocks noGrp="1"/>
          </p:cNvSpPr>
          <p:nvPr>
            <p:ph type="ftr" sz="quarter" idx="3"/>
          </p:nvPr>
        </p:nvSpPr>
        <p:spPr>
          <a:xfrm>
            <a:off x="1116335" y="6340475"/>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7 – All rights reserved</a:t>
            </a:r>
            <a:endParaRPr lang="fr-FR"/>
          </a:p>
        </p:txBody>
      </p:sp>
    </p:spTree>
    <p:extLst>
      <p:ext uri="{BB962C8B-B14F-4D97-AF65-F5344CB8AC3E}">
        <p14:creationId xmlns:p14="http://schemas.microsoft.com/office/powerpoint/2010/main" val="2722220256"/>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Lst>
  <p:hf sldNum="0" hdr="0" dt="0"/>
  <p:txStyles>
    <p:titleStyle>
      <a:lvl1pPr algn="l" defTabSz="914400" rtl="0" eaLnBrk="1" latinLnBrk="0" hangingPunct="1">
        <a:spcBef>
          <a:spcPct val="0"/>
        </a:spcBef>
        <a:buNone/>
        <a:defRPr sz="3200" kern="1200" spc="-150" baseline="0">
          <a:solidFill>
            <a:schemeClr val="bg2"/>
          </a:solidFill>
          <a:latin typeface="Arial" pitchFamily="34" charset="0"/>
          <a:ea typeface="+mj-ea"/>
          <a:cs typeface="Arial" pitchFamily="34" charset="0"/>
        </a:defRPr>
      </a:lvl1pPr>
    </p:titleStyle>
    <p:bodyStyle>
      <a:lvl1pPr marL="0" indent="0" algn="l" defTabSz="914400" rtl="0" eaLnBrk="1" latinLnBrk="0" hangingPunct="1">
        <a:spcBef>
          <a:spcPct val="20000"/>
        </a:spcBef>
        <a:buFont typeface="Arial" pitchFamily="34" charset="0"/>
        <a:buNone/>
        <a:defRPr sz="1800" b="1" kern="1200" spc="-100" baseline="0">
          <a:solidFill>
            <a:schemeClr val="bg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72319" y="408236"/>
            <a:ext cx="10297144" cy="1139825"/>
          </a:xfrm>
          <a:prstGeom prst="rect">
            <a:avLst/>
          </a:prstGeom>
        </p:spPr>
        <p:txBody>
          <a:bodyPr vert="horz" lIns="91440" tIns="45720" rIns="91440" bIns="45720" rtlCol="0" anchor="t">
            <a:noAutofit/>
          </a:bodyPr>
          <a:lstStyle/>
          <a:p>
            <a:r>
              <a:rPr lang="en-US"/>
              <a:t>Click to edit Master title style</a:t>
            </a:r>
            <a:endParaRPr lang="en-GB"/>
          </a:p>
        </p:txBody>
      </p:sp>
      <p:sp>
        <p:nvSpPr>
          <p:cNvPr id="3" name="Text Placeholder 2"/>
          <p:cNvSpPr>
            <a:spLocks noGrp="1"/>
          </p:cNvSpPr>
          <p:nvPr>
            <p:ph type="body" idx="1"/>
          </p:nvPr>
        </p:nvSpPr>
        <p:spPr>
          <a:xfrm>
            <a:off x="972319" y="2001763"/>
            <a:ext cx="10297144" cy="4370834"/>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
        <p:nvSpPr>
          <p:cNvPr id="6" name="Slide Number Placeholder 5"/>
          <p:cNvSpPr>
            <a:spLocks noGrp="1"/>
          </p:cNvSpPr>
          <p:nvPr>
            <p:ph type="sldNum" sz="quarter" idx="4"/>
          </p:nvPr>
        </p:nvSpPr>
        <p:spPr>
          <a:xfrm>
            <a:off x="540271" y="6372597"/>
            <a:ext cx="432048" cy="363538"/>
          </a:xfrm>
          <a:prstGeom prst="rect">
            <a:avLst/>
          </a:prstGeom>
        </p:spPr>
        <p:txBody>
          <a:bodyPr vert="horz" lIns="91440" tIns="45720" rIns="91440" bIns="45720" rtlCol="0" anchor="ctr"/>
          <a:lstStyle>
            <a:lvl1pPr algn="l">
              <a:defRPr sz="1200">
                <a:solidFill>
                  <a:schemeClr val="tx1">
                    <a:tint val="75000"/>
                  </a:schemeClr>
                </a:solidFill>
              </a:defRPr>
            </a:lvl1pPr>
          </a:lstStyle>
          <a:p>
            <a:fld id="{C864BB8D-94B4-466C-94BF-D114C83BF951}" type="slidenum">
              <a:rPr lang="en-GB" smtClean="0"/>
              <a:pPr/>
              <a:t>‹#›</a:t>
            </a:fld>
            <a:endParaRPr lang="en-GB"/>
          </a:p>
        </p:txBody>
      </p:sp>
      <p:sp>
        <p:nvSpPr>
          <p:cNvPr id="4" name="Footer Placeholder 3"/>
          <p:cNvSpPr>
            <a:spLocks noGrp="1"/>
          </p:cNvSpPr>
          <p:nvPr>
            <p:ph type="ftr" sz="quarter" idx="3"/>
          </p:nvPr>
        </p:nvSpPr>
        <p:spPr>
          <a:xfrm>
            <a:off x="1116335" y="6372597"/>
            <a:ext cx="4108450" cy="363538"/>
          </a:xfrm>
          <a:prstGeom prst="rect">
            <a:avLst/>
          </a:prstGeom>
        </p:spPr>
        <p:txBody>
          <a:bodyPr vert="horz" lIns="91440" tIns="45720" rIns="91440" bIns="45720" rtlCol="0" anchor="ctr"/>
          <a:lstStyle>
            <a:lvl1pPr algn="l">
              <a:defRPr sz="1000">
                <a:solidFill>
                  <a:schemeClr val="bg1"/>
                </a:solidFill>
              </a:defRPr>
            </a:lvl1pPr>
          </a:lstStyle>
          <a:p>
            <a:r>
              <a:rPr lang="en-US"/>
              <a:t>© HL Display 2018 – All rights reserved</a:t>
            </a:r>
            <a:endParaRPr lang="fr-FR"/>
          </a:p>
        </p:txBody>
      </p:sp>
    </p:spTree>
    <p:extLst>
      <p:ext uri="{BB962C8B-B14F-4D97-AF65-F5344CB8AC3E}">
        <p14:creationId xmlns:p14="http://schemas.microsoft.com/office/powerpoint/2010/main" val="2729574347"/>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 id="2147483903" r:id="rId6"/>
    <p:sldLayoutId id="2147483904" r:id="rId7"/>
    <p:sldLayoutId id="2147483905" r:id="rId8"/>
    <p:sldLayoutId id="2147483906" r:id="rId9"/>
    <p:sldLayoutId id="2147483907" r:id="rId10"/>
  </p:sldLayoutIdLst>
  <p:hf hdr="0" dt="0"/>
  <p:txStyles>
    <p:titleStyle>
      <a:lvl1pPr algn="l" defTabSz="914400" rtl="0" eaLnBrk="1" latinLnBrk="0" hangingPunct="1">
        <a:spcBef>
          <a:spcPct val="0"/>
        </a:spcBef>
        <a:buNone/>
        <a:defRPr sz="4000" kern="1200" spc="-130" baseline="0">
          <a:solidFill>
            <a:schemeClr val="tx2"/>
          </a:solidFill>
          <a:latin typeface="Arial" pitchFamily="34" charset="0"/>
          <a:ea typeface="+mj-ea"/>
          <a:cs typeface="Arial" pitchFamily="34" charset="0"/>
        </a:defRPr>
      </a:lvl1pPr>
    </p:titleStyle>
    <p:bodyStyle>
      <a:lvl1pPr marL="0" indent="0" algn="l" defTabSz="914400" rtl="0" eaLnBrk="1" latinLnBrk="0" hangingPunct="1">
        <a:spcBef>
          <a:spcPct val="20000"/>
        </a:spcBef>
        <a:buFont typeface="Arial" pitchFamily="34" charset="0"/>
        <a:buNone/>
        <a:defRPr sz="2800" b="0" kern="1200" spc="-100" baseline="0">
          <a:solidFill>
            <a:schemeClr val="tx1">
              <a:lumMod val="60000"/>
              <a:lumOff val="40000"/>
            </a:schemeClr>
          </a:solidFill>
          <a:latin typeface="Arial" pitchFamily="34" charset="0"/>
          <a:ea typeface="+mn-ea"/>
          <a:cs typeface="Arial" pitchFamily="34" charset="0"/>
        </a:defRPr>
      </a:lvl1pPr>
      <a:lvl2pPr marL="174625" indent="-174625" algn="l" defTabSz="914400" rtl="0" eaLnBrk="1" latinLnBrk="0" hangingPunct="1">
        <a:spcBef>
          <a:spcPct val="20000"/>
        </a:spcBef>
        <a:buFont typeface="Arial" pitchFamily="34" charset="0"/>
        <a:buChar char="•"/>
        <a:defRPr sz="2400" b="0" kern="1200" spc="-100" baseline="0">
          <a:solidFill>
            <a:schemeClr val="tx1"/>
          </a:solidFill>
          <a:latin typeface="Arial" pitchFamily="34" charset="0"/>
          <a:ea typeface="+mn-ea"/>
          <a:cs typeface="Arial" pitchFamily="34" charset="0"/>
        </a:defRPr>
      </a:lvl2pPr>
      <a:lvl3pPr marL="446088" indent="-174625" algn="l" defTabSz="914400" rtl="0" eaLnBrk="1" latinLnBrk="0" hangingPunct="1">
        <a:spcBef>
          <a:spcPct val="20000"/>
        </a:spcBef>
        <a:buFont typeface="Arial" pitchFamily="34" charset="0"/>
        <a:buChar char="•"/>
        <a:defRPr sz="2000" kern="1200">
          <a:solidFill>
            <a:schemeClr val="tx2"/>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slideLayout" Target="../slideLayouts/slideLayout15.xml"/><Relationship Id="rId1" Type="http://schemas.openxmlformats.org/officeDocument/2006/relationships/vmlDrawing" Target="../drawings/vmlDrawing4.vml"/><Relationship Id="rId4" Type="http://schemas.openxmlformats.org/officeDocument/2006/relationships/image" Target="../media/image48.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2.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 Id="rId9" Type="http://schemas.openxmlformats.org/officeDocument/2006/relationships/image" Target="../media/image34.png"/></Relationships>
</file>

<file path=ppt/slides/_rels/slide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6" name="Title 5"/>
          <p:cNvSpPr>
            <a:spLocks noGrp="1"/>
          </p:cNvSpPr>
          <p:nvPr>
            <p:ph type="ctrTitle"/>
          </p:nvPr>
        </p:nvSpPr>
        <p:spPr>
          <a:xfrm>
            <a:off x="972000" y="2916381"/>
            <a:ext cx="5616000" cy="1512000"/>
          </a:xfrm>
        </p:spPr>
        <p:txBody>
          <a:bodyPr/>
          <a:lstStyle/>
          <a:p>
            <a:pPr lvl="0">
              <a:defRPr/>
            </a:pPr>
            <a:r>
              <a:rPr lang="en-US" sz="3600" dirty="0">
                <a:solidFill>
                  <a:srgbClr val="FFFFFF"/>
                </a:solidFill>
                <a:latin typeface="Arial"/>
                <a:cs typeface="Arial"/>
              </a:rPr>
              <a:t>Hygienic Stand </a:t>
            </a:r>
            <a:br>
              <a:rPr lang="en-US" sz="3600" dirty="0">
                <a:solidFill>
                  <a:srgbClr val="FFFFFF"/>
                </a:solidFill>
                <a:latin typeface="Arial"/>
                <a:cs typeface="Arial"/>
              </a:rPr>
            </a:br>
            <a:endParaRPr lang="en-US" sz="3600" dirty="0">
              <a:solidFill>
                <a:srgbClr val="FFFF00"/>
              </a:solidFill>
              <a:latin typeface="Arial"/>
              <a:cs typeface="Arial"/>
            </a:endParaRPr>
          </a:p>
        </p:txBody>
      </p:sp>
      <p:sp>
        <p:nvSpPr>
          <p:cNvPr id="7" name="Subtitle 6"/>
          <p:cNvSpPr>
            <a:spLocks noGrp="1"/>
          </p:cNvSpPr>
          <p:nvPr>
            <p:ph type="subTitle" idx="1"/>
          </p:nvPr>
        </p:nvSpPr>
        <p:spPr/>
        <p:txBody>
          <a:bodyPr/>
          <a:lstStyle/>
          <a:p>
            <a:r>
              <a:rPr lang="en-GB" dirty="0"/>
              <a:t>April, 15</a:t>
            </a:r>
            <a:r>
              <a:rPr lang="en-GB" baseline="30000" dirty="0"/>
              <a:t>th</a:t>
            </a:r>
            <a:r>
              <a:rPr lang="en-GB" dirty="0"/>
              <a:t>, 2020</a:t>
            </a:r>
          </a:p>
        </p:txBody>
      </p:sp>
      <p:sp>
        <p:nvSpPr>
          <p:cNvPr id="5" name="Footer Placeholder 4"/>
          <p:cNvSpPr>
            <a:spLocks noGrp="1"/>
          </p:cNvSpPr>
          <p:nvPr>
            <p:ph type="ftr" sz="quarter" idx="3"/>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D7CDC8"/>
                </a:solidFill>
                <a:effectLst/>
                <a:uLnTx/>
                <a:uFillTx/>
                <a:latin typeface="Arial" pitchFamily="34" charset="0"/>
                <a:ea typeface="+mn-ea"/>
                <a:cs typeface="Arial" pitchFamily="34" charset="0"/>
              </a:rPr>
              <a:t>© HL Display 2020 – All rights reserved</a:t>
            </a:r>
            <a:endParaRPr kumimoji="0" lang="fr-FR" sz="1000" b="0" i="0" u="none" strike="noStrike" kern="1200" cap="none" spc="0" normalizeH="0" baseline="0" noProof="0" dirty="0">
              <a:ln>
                <a:noFill/>
              </a:ln>
              <a:solidFill>
                <a:srgbClr val="D7CDC8"/>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7236308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red, white, sitting, water&#10;&#10;Description automatically generated">
            <a:extLst>
              <a:ext uri="{FF2B5EF4-FFF2-40B4-BE49-F238E27FC236}">
                <a16:creationId xmlns:a16="http://schemas.microsoft.com/office/drawing/2014/main" id="{115B6AC3-DFBF-46CA-A80D-BED0983C8B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10510" y="-24447"/>
            <a:ext cx="7495398" cy="6875871"/>
          </a:xfrm>
          <a:prstGeom prst="rect">
            <a:avLst/>
          </a:prstGeom>
        </p:spPr>
      </p:pic>
      <p:sp>
        <p:nvSpPr>
          <p:cNvPr id="6" name="Title 9">
            <a:extLst>
              <a:ext uri="{FF2B5EF4-FFF2-40B4-BE49-F238E27FC236}">
                <a16:creationId xmlns:a16="http://schemas.microsoft.com/office/drawing/2014/main" id="{01AEDF92-E83B-4A4E-AA02-1843599D92AA}"/>
              </a:ext>
            </a:extLst>
          </p:cNvPr>
          <p:cNvSpPr>
            <a:spLocks noGrp="1"/>
          </p:cNvSpPr>
          <p:nvPr>
            <p:ph type="title"/>
          </p:nvPr>
        </p:nvSpPr>
        <p:spPr>
          <a:xfrm>
            <a:off x="6948983" y="2352452"/>
            <a:ext cx="4320680" cy="1139825"/>
          </a:xfrm>
        </p:spPr>
        <p:txBody>
          <a:bodyPr/>
          <a:lstStyle/>
          <a:p>
            <a:r>
              <a:rPr lang="de-AT" dirty="0" err="1"/>
              <a:t>Hygienic</a:t>
            </a:r>
            <a:r>
              <a:rPr lang="de-AT" dirty="0"/>
              <a:t> Stand TALL </a:t>
            </a:r>
            <a:r>
              <a:rPr lang="de-AT" dirty="0" err="1"/>
              <a:t>version</a:t>
            </a:r>
            <a:endParaRPr lang="de-AT" dirty="0"/>
          </a:p>
        </p:txBody>
      </p:sp>
      <p:sp>
        <p:nvSpPr>
          <p:cNvPr id="29" name="Isosceles Triangle 28">
            <a:extLst>
              <a:ext uri="{FF2B5EF4-FFF2-40B4-BE49-F238E27FC236}">
                <a16:creationId xmlns:a16="http://schemas.microsoft.com/office/drawing/2014/main" id="{222CDA01-E020-4BC0-872F-E400AA7107CE}"/>
              </a:ext>
            </a:extLst>
          </p:cNvPr>
          <p:cNvSpPr/>
          <p:nvPr/>
        </p:nvSpPr>
        <p:spPr>
          <a:xfrm>
            <a:off x="3930463" y="0"/>
            <a:ext cx="2170942" cy="6851424"/>
          </a:xfrm>
          <a:prstGeom prst="triangle">
            <a:avLst>
              <a:gd name="adj" fmla="val 10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24607491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toy, red, white, refrigerator&#10;&#10;Description automatically generated">
            <a:extLst>
              <a:ext uri="{FF2B5EF4-FFF2-40B4-BE49-F238E27FC236}">
                <a16:creationId xmlns:a16="http://schemas.microsoft.com/office/drawing/2014/main" id="{CA146DC4-192C-4BDE-A039-182126B2F3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43203" y="0"/>
            <a:ext cx="7740997" cy="6851424"/>
          </a:xfrm>
          <a:prstGeom prst="rect">
            <a:avLst/>
          </a:prstGeom>
        </p:spPr>
      </p:pic>
      <p:sp>
        <p:nvSpPr>
          <p:cNvPr id="6" name="Title 9">
            <a:extLst>
              <a:ext uri="{FF2B5EF4-FFF2-40B4-BE49-F238E27FC236}">
                <a16:creationId xmlns:a16="http://schemas.microsoft.com/office/drawing/2014/main" id="{01AEDF92-E83B-4A4E-AA02-1843599D92AA}"/>
              </a:ext>
            </a:extLst>
          </p:cNvPr>
          <p:cNvSpPr>
            <a:spLocks noGrp="1"/>
          </p:cNvSpPr>
          <p:nvPr>
            <p:ph type="title"/>
          </p:nvPr>
        </p:nvSpPr>
        <p:spPr>
          <a:xfrm>
            <a:off x="6948983" y="2352452"/>
            <a:ext cx="4320680" cy="1139825"/>
          </a:xfrm>
        </p:spPr>
        <p:txBody>
          <a:bodyPr/>
          <a:lstStyle/>
          <a:p>
            <a:r>
              <a:rPr lang="de-AT" dirty="0" err="1"/>
              <a:t>Hygienic</a:t>
            </a:r>
            <a:r>
              <a:rPr lang="de-AT" dirty="0"/>
              <a:t> Stand TALL </a:t>
            </a:r>
            <a:r>
              <a:rPr lang="de-AT" dirty="0" err="1"/>
              <a:t>version</a:t>
            </a:r>
            <a:endParaRPr lang="de-AT" dirty="0"/>
          </a:p>
        </p:txBody>
      </p:sp>
      <p:sp>
        <p:nvSpPr>
          <p:cNvPr id="29" name="Isosceles Triangle 28">
            <a:extLst>
              <a:ext uri="{FF2B5EF4-FFF2-40B4-BE49-F238E27FC236}">
                <a16:creationId xmlns:a16="http://schemas.microsoft.com/office/drawing/2014/main" id="{222CDA01-E020-4BC0-872F-E400AA7107CE}"/>
              </a:ext>
            </a:extLst>
          </p:cNvPr>
          <p:cNvSpPr/>
          <p:nvPr/>
        </p:nvSpPr>
        <p:spPr>
          <a:xfrm>
            <a:off x="3930463" y="0"/>
            <a:ext cx="2170942" cy="6851424"/>
          </a:xfrm>
          <a:prstGeom prst="triangle">
            <a:avLst>
              <a:gd name="adj" fmla="val 10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19922204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oy, white, table, red&#10;&#10;Description automatically generated">
            <a:extLst>
              <a:ext uri="{FF2B5EF4-FFF2-40B4-BE49-F238E27FC236}">
                <a16:creationId xmlns:a16="http://schemas.microsoft.com/office/drawing/2014/main" id="{5E24A0C4-38CF-4D1E-8EEC-8450EE4C8562}"/>
              </a:ext>
            </a:extLst>
          </p:cNvPr>
          <p:cNvPicPr>
            <a:picLocks noChangeAspect="1"/>
          </p:cNvPicPr>
          <p:nvPr/>
        </p:nvPicPr>
        <p:blipFill rotWithShape="1">
          <a:blip r:embed="rId2">
            <a:extLst>
              <a:ext uri="{28A0092B-C50C-407E-A947-70E740481C1C}">
                <a14:useLocalDpi xmlns:a14="http://schemas.microsoft.com/office/drawing/2010/main" val="0"/>
              </a:ext>
            </a:extLst>
          </a:blip>
          <a:srcRect r="9978"/>
          <a:stretch/>
        </p:blipFill>
        <p:spPr>
          <a:xfrm>
            <a:off x="-1594696" y="-28371"/>
            <a:ext cx="7695127" cy="6883504"/>
          </a:xfrm>
          <a:prstGeom prst="rect">
            <a:avLst/>
          </a:prstGeom>
        </p:spPr>
      </p:pic>
      <p:sp>
        <p:nvSpPr>
          <p:cNvPr id="6" name="Title 9">
            <a:extLst>
              <a:ext uri="{FF2B5EF4-FFF2-40B4-BE49-F238E27FC236}">
                <a16:creationId xmlns:a16="http://schemas.microsoft.com/office/drawing/2014/main" id="{01AEDF92-E83B-4A4E-AA02-1843599D92AA}"/>
              </a:ext>
            </a:extLst>
          </p:cNvPr>
          <p:cNvSpPr>
            <a:spLocks noGrp="1"/>
          </p:cNvSpPr>
          <p:nvPr>
            <p:ph type="title"/>
          </p:nvPr>
        </p:nvSpPr>
        <p:spPr>
          <a:xfrm>
            <a:off x="6948983" y="2352452"/>
            <a:ext cx="4320680" cy="1139825"/>
          </a:xfrm>
        </p:spPr>
        <p:txBody>
          <a:bodyPr/>
          <a:lstStyle/>
          <a:p>
            <a:r>
              <a:rPr lang="de-AT" dirty="0" err="1"/>
              <a:t>Hygienic</a:t>
            </a:r>
            <a:r>
              <a:rPr lang="de-AT" dirty="0"/>
              <a:t> Stand TALL </a:t>
            </a:r>
            <a:r>
              <a:rPr lang="de-AT" dirty="0" err="1"/>
              <a:t>version</a:t>
            </a:r>
            <a:endParaRPr lang="de-AT" dirty="0"/>
          </a:p>
        </p:txBody>
      </p:sp>
      <p:sp>
        <p:nvSpPr>
          <p:cNvPr id="29" name="Isosceles Triangle 28">
            <a:extLst>
              <a:ext uri="{FF2B5EF4-FFF2-40B4-BE49-F238E27FC236}">
                <a16:creationId xmlns:a16="http://schemas.microsoft.com/office/drawing/2014/main" id="{222CDA01-E020-4BC0-872F-E400AA7107CE}"/>
              </a:ext>
            </a:extLst>
          </p:cNvPr>
          <p:cNvSpPr/>
          <p:nvPr/>
        </p:nvSpPr>
        <p:spPr>
          <a:xfrm>
            <a:off x="3930463" y="0"/>
            <a:ext cx="2170942" cy="6851424"/>
          </a:xfrm>
          <a:prstGeom prst="triangle">
            <a:avLst>
              <a:gd name="adj" fmla="val 10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14452288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5FED28CA-44D8-416B-B0B6-CAF32392D886}"/>
              </a:ext>
            </a:extLst>
          </p:cNvPr>
          <p:cNvSpPr>
            <a:spLocks noGrp="1"/>
          </p:cNvSpPr>
          <p:nvPr>
            <p:ph type="ftr" sz="quarter" idx="3"/>
          </p:nvPr>
        </p:nvSpPr>
        <p:spPr/>
        <p:txBody>
          <a:bodyPr/>
          <a:lstStyle/>
          <a:p>
            <a:r>
              <a:rPr lang="en-US"/>
              <a:t>© HL Display 2017 – All rights reserved</a:t>
            </a:r>
            <a:endParaRPr lang="fr-FR" dirty="0"/>
          </a:p>
        </p:txBody>
      </p:sp>
      <p:sp>
        <p:nvSpPr>
          <p:cNvPr id="21" name="Title 9">
            <a:extLst>
              <a:ext uri="{FF2B5EF4-FFF2-40B4-BE49-F238E27FC236}">
                <a16:creationId xmlns:a16="http://schemas.microsoft.com/office/drawing/2014/main" id="{FFF9ACFD-D1ED-4E9A-A071-8DC3107ED32F}"/>
              </a:ext>
            </a:extLst>
          </p:cNvPr>
          <p:cNvSpPr>
            <a:spLocks noGrp="1"/>
          </p:cNvSpPr>
          <p:nvPr>
            <p:ph type="title"/>
          </p:nvPr>
        </p:nvSpPr>
        <p:spPr>
          <a:xfrm>
            <a:off x="9973319" y="408236"/>
            <a:ext cx="1728192" cy="1139825"/>
          </a:xfrm>
        </p:spPr>
        <p:txBody>
          <a:bodyPr/>
          <a:lstStyle/>
          <a:p>
            <a:r>
              <a:rPr lang="de-AT" sz="2800" dirty="0" err="1"/>
              <a:t>Example</a:t>
            </a:r>
            <a:r>
              <a:rPr lang="de-AT" sz="2800" dirty="0"/>
              <a:t> 2</a:t>
            </a:r>
          </a:p>
        </p:txBody>
      </p:sp>
      <p:sp>
        <p:nvSpPr>
          <p:cNvPr id="22" name="Text Placeholder 10">
            <a:extLst>
              <a:ext uri="{FF2B5EF4-FFF2-40B4-BE49-F238E27FC236}">
                <a16:creationId xmlns:a16="http://schemas.microsoft.com/office/drawing/2014/main" id="{FD09A41C-B42A-412A-B99B-03B2EFA5EA2E}"/>
              </a:ext>
            </a:extLst>
          </p:cNvPr>
          <p:cNvSpPr>
            <a:spLocks noGrp="1"/>
          </p:cNvSpPr>
          <p:nvPr>
            <p:ph type="body" sz="quarter" idx="11"/>
          </p:nvPr>
        </p:nvSpPr>
        <p:spPr>
          <a:xfrm>
            <a:off x="9969593" y="899989"/>
            <a:ext cx="1803926" cy="3959671"/>
          </a:xfrm>
        </p:spPr>
        <p:txBody>
          <a:bodyPr/>
          <a:lstStyle/>
          <a:p>
            <a:r>
              <a:rPr lang="de-AT" sz="1400" dirty="0" err="1"/>
              <a:t>Hygienic</a:t>
            </a:r>
            <a:r>
              <a:rPr lang="de-AT" sz="1400" dirty="0"/>
              <a:t> Stand TALL </a:t>
            </a:r>
            <a:r>
              <a:rPr lang="de-AT" sz="1400" dirty="0" err="1"/>
              <a:t>version</a:t>
            </a:r>
            <a:r>
              <a:rPr lang="de-AT" sz="1400" dirty="0"/>
              <a:t> </a:t>
            </a:r>
            <a:r>
              <a:rPr lang="de-AT" sz="1400" dirty="0" err="1"/>
              <a:t>with</a:t>
            </a:r>
            <a:r>
              <a:rPr lang="de-AT" sz="1400" dirty="0"/>
              <a:t> </a:t>
            </a:r>
            <a:r>
              <a:rPr lang="de-AT" sz="1400" dirty="0" err="1"/>
              <a:t>sanitizer</a:t>
            </a:r>
            <a:r>
              <a:rPr lang="de-AT" sz="1400" dirty="0"/>
              <a:t> holder, tissue holder, </a:t>
            </a:r>
            <a:r>
              <a:rPr lang="de-AT" sz="1400" dirty="0" err="1"/>
              <a:t>disposable</a:t>
            </a:r>
            <a:r>
              <a:rPr lang="de-AT" sz="1400" dirty="0"/>
              <a:t> </a:t>
            </a:r>
            <a:r>
              <a:rPr lang="de-AT" sz="1400" dirty="0" err="1"/>
              <a:t>gloves</a:t>
            </a:r>
            <a:r>
              <a:rPr lang="de-AT" sz="1400" dirty="0"/>
              <a:t> holder and </a:t>
            </a:r>
            <a:r>
              <a:rPr lang="de-AT" sz="1400" dirty="0" err="1"/>
              <a:t>waste</a:t>
            </a:r>
            <a:r>
              <a:rPr lang="de-AT" sz="1400" dirty="0"/>
              <a:t> bin  </a:t>
            </a:r>
          </a:p>
        </p:txBody>
      </p:sp>
      <p:pic>
        <p:nvPicPr>
          <p:cNvPr id="2" name="Picture 1">
            <a:extLst>
              <a:ext uri="{FF2B5EF4-FFF2-40B4-BE49-F238E27FC236}">
                <a16:creationId xmlns:a16="http://schemas.microsoft.com/office/drawing/2014/main" id="{BC5A3383-BB52-4BD3-BFD7-DD19B482998F}"/>
              </a:ext>
            </a:extLst>
          </p:cNvPr>
          <p:cNvPicPr>
            <a:picLocks noChangeAspect="1"/>
          </p:cNvPicPr>
          <p:nvPr/>
        </p:nvPicPr>
        <p:blipFill>
          <a:blip r:embed="rId2"/>
          <a:stretch>
            <a:fillRect/>
          </a:stretch>
        </p:blipFill>
        <p:spPr>
          <a:xfrm>
            <a:off x="0" y="-26367"/>
            <a:ext cx="9807012" cy="6840538"/>
          </a:xfrm>
          <a:prstGeom prst="rect">
            <a:avLst/>
          </a:prstGeom>
        </p:spPr>
      </p:pic>
    </p:spTree>
    <p:extLst>
      <p:ext uri="{BB962C8B-B14F-4D97-AF65-F5344CB8AC3E}">
        <p14:creationId xmlns:p14="http://schemas.microsoft.com/office/powerpoint/2010/main" val="1099853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toy&#10;&#10;Description automatically generated">
            <a:extLst>
              <a:ext uri="{FF2B5EF4-FFF2-40B4-BE49-F238E27FC236}">
                <a16:creationId xmlns:a16="http://schemas.microsoft.com/office/drawing/2014/main" id="{D1733D26-BAF9-4781-A04F-A08FC7E59A49}"/>
              </a:ext>
            </a:extLst>
          </p:cNvPr>
          <p:cNvPicPr>
            <a:picLocks noChangeAspect="1"/>
          </p:cNvPicPr>
          <p:nvPr/>
        </p:nvPicPr>
        <p:blipFill rotWithShape="1">
          <a:blip r:embed="rId2">
            <a:extLst>
              <a:ext uri="{28A0092B-C50C-407E-A947-70E740481C1C}">
                <a14:useLocalDpi xmlns:a14="http://schemas.microsoft.com/office/drawing/2010/main" val="0"/>
              </a:ext>
            </a:extLst>
          </a:blip>
          <a:srcRect r="7569"/>
          <a:stretch/>
        </p:blipFill>
        <p:spPr>
          <a:xfrm>
            <a:off x="-872113" y="0"/>
            <a:ext cx="6155561" cy="6840538"/>
          </a:xfrm>
          <a:prstGeom prst="rect">
            <a:avLst/>
          </a:prstGeom>
        </p:spPr>
      </p:pic>
      <p:sp>
        <p:nvSpPr>
          <p:cNvPr id="6" name="Title 9">
            <a:extLst>
              <a:ext uri="{FF2B5EF4-FFF2-40B4-BE49-F238E27FC236}">
                <a16:creationId xmlns:a16="http://schemas.microsoft.com/office/drawing/2014/main" id="{01AEDF92-E83B-4A4E-AA02-1843599D92AA}"/>
              </a:ext>
            </a:extLst>
          </p:cNvPr>
          <p:cNvSpPr>
            <a:spLocks noGrp="1"/>
          </p:cNvSpPr>
          <p:nvPr>
            <p:ph type="title"/>
          </p:nvPr>
        </p:nvSpPr>
        <p:spPr>
          <a:xfrm>
            <a:off x="6948983" y="2352452"/>
            <a:ext cx="4320680" cy="1139825"/>
          </a:xfrm>
        </p:spPr>
        <p:txBody>
          <a:bodyPr/>
          <a:lstStyle/>
          <a:p>
            <a:r>
              <a:rPr lang="de-AT" dirty="0" err="1"/>
              <a:t>Hygienic</a:t>
            </a:r>
            <a:r>
              <a:rPr lang="de-AT" dirty="0"/>
              <a:t> Stand </a:t>
            </a:r>
            <a:r>
              <a:rPr lang="de-AT" dirty="0">
                <a:solidFill>
                  <a:schemeClr val="accent4">
                    <a:lumMod val="75000"/>
                  </a:schemeClr>
                </a:solidFill>
              </a:rPr>
              <a:t>SHORT</a:t>
            </a:r>
            <a:r>
              <a:rPr lang="de-AT" dirty="0"/>
              <a:t> </a:t>
            </a:r>
            <a:r>
              <a:rPr lang="de-AT" dirty="0" err="1"/>
              <a:t>version</a:t>
            </a:r>
            <a:endParaRPr lang="de-AT" dirty="0"/>
          </a:p>
        </p:txBody>
      </p:sp>
      <p:sp>
        <p:nvSpPr>
          <p:cNvPr id="29" name="Isosceles Triangle 28">
            <a:extLst>
              <a:ext uri="{FF2B5EF4-FFF2-40B4-BE49-F238E27FC236}">
                <a16:creationId xmlns:a16="http://schemas.microsoft.com/office/drawing/2014/main" id="{222CDA01-E020-4BC0-872F-E400AA7107CE}"/>
              </a:ext>
            </a:extLst>
          </p:cNvPr>
          <p:cNvSpPr/>
          <p:nvPr/>
        </p:nvSpPr>
        <p:spPr>
          <a:xfrm>
            <a:off x="3996655" y="-104691"/>
            <a:ext cx="1296144" cy="6945229"/>
          </a:xfrm>
          <a:prstGeom prst="triangle">
            <a:avLst>
              <a:gd name="adj" fmla="val 10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37027041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white, red, table, room&#10;&#10;Description automatically generated">
            <a:extLst>
              <a:ext uri="{FF2B5EF4-FFF2-40B4-BE49-F238E27FC236}">
                <a16:creationId xmlns:a16="http://schemas.microsoft.com/office/drawing/2014/main" id="{9D2D373B-E820-4D93-84CB-33934478C37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628" y="-47392"/>
            <a:ext cx="5340427" cy="6945230"/>
          </a:xfrm>
          <a:prstGeom prst="rect">
            <a:avLst/>
          </a:prstGeom>
        </p:spPr>
      </p:pic>
      <p:sp>
        <p:nvSpPr>
          <p:cNvPr id="6" name="Title 9">
            <a:extLst>
              <a:ext uri="{FF2B5EF4-FFF2-40B4-BE49-F238E27FC236}">
                <a16:creationId xmlns:a16="http://schemas.microsoft.com/office/drawing/2014/main" id="{01AEDF92-E83B-4A4E-AA02-1843599D92AA}"/>
              </a:ext>
            </a:extLst>
          </p:cNvPr>
          <p:cNvSpPr>
            <a:spLocks noGrp="1"/>
          </p:cNvSpPr>
          <p:nvPr>
            <p:ph type="title"/>
          </p:nvPr>
        </p:nvSpPr>
        <p:spPr>
          <a:xfrm>
            <a:off x="6948983" y="2352452"/>
            <a:ext cx="4320680" cy="1139825"/>
          </a:xfrm>
        </p:spPr>
        <p:txBody>
          <a:bodyPr/>
          <a:lstStyle/>
          <a:p>
            <a:r>
              <a:rPr lang="de-AT" dirty="0" err="1"/>
              <a:t>Hygienic</a:t>
            </a:r>
            <a:r>
              <a:rPr lang="de-AT" dirty="0"/>
              <a:t> Stand </a:t>
            </a:r>
            <a:r>
              <a:rPr lang="de-AT" dirty="0">
                <a:solidFill>
                  <a:schemeClr val="accent4">
                    <a:lumMod val="75000"/>
                  </a:schemeClr>
                </a:solidFill>
              </a:rPr>
              <a:t>SHORT</a:t>
            </a:r>
            <a:r>
              <a:rPr lang="de-AT" dirty="0"/>
              <a:t> </a:t>
            </a:r>
            <a:r>
              <a:rPr lang="de-AT" dirty="0" err="1"/>
              <a:t>version</a:t>
            </a:r>
            <a:endParaRPr lang="de-AT" dirty="0"/>
          </a:p>
        </p:txBody>
      </p:sp>
      <p:sp>
        <p:nvSpPr>
          <p:cNvPr id="29" name="Isosceles Triangle 28">
            <a:extLst>
              <a:ext uri="{FF2B5EF4-FFF2-40B4-BE49-F238E27FC236}">
                <a16:creationId xmlns:a16="http://schemas.microsoft.com/office/drawing/2014/main" id="{222CDA01-E020-4BC0-872F-E400AA7107CE}"/>
              </a:ext>
            </a:extLst>
          </p:cNvPr>
          <p:cNvSpPr/>
          <p:nvPr/>
        </p:nvSpPr>
        <p:spPr>
          <a:xfrm>
            <a:off x="3996655" y="-104691"/>
            <a:ext cx="1296144" cy="6945229"/>
          </a:xfrm>
          <a:prstGeom prst="triangle">
            <a:avLst>
              <a:gd name="adj" fmla="val 10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22413642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sitting, red, white, table&#10;&#10;Description automatically generated">
            <a:extLst>
              <a:ext uri="{FF2B5EF4-FFF2-40B4-BE49-F238E27FC236}">
                <a16:creationId xmlns:a16="http://schemas.microsoft.com/office/drawing/2014/main" id="{5A700D9D-5EF1-421F-A391-A344AD8F8D09}"/>
              </a:ext>
            </a:extLst>
          </p:cNvPr>
          <p:cNvPicPr>
            <a:picLocks noChangeAspect="1"/>
          </p:cNvPicPr>
          <p:nvPr/>
        </p:nvPicPr>
        <p:blipFill rotWithShape="1">
          <a:blip r:embed="rId2">
            <a:extLst>
              <a:ext uri="{28A0092B-C50C-407E-A947-70E740481C1C}">
                <a14:useLocalDpi xmlns:a14="http://schemas.microsoft.com/office/drawing/2010/main" val="0"/>
              </a:ext>
            </a:extLst>
          </a:blip>
          <a:srcRect r="9713"/>
          <a:stretch/>
        </p:blipFill>
        <p:spPr>
          <a:xfrm>
            <a:off x="-1267734" y="0"/>
            <a:ext cx="6556688" cy="6840538"/>
          </a:xfrm>
          <a:prstGeom prst="rect">
            <a:avLst/>
          </a:prstGeom>
        </p:spPr>
      </p:pic>
      <p:sp>
        <p:nvSpPr>
          <p:cNvPr id="6" name="Title 9">
            <a:extLst>
              <a:ext uri="{FF2B5EF4-FFF2-40B4-BE49-F238E27FC236}">
                <a16:creationId xmlns:a16="http://schemas.microsoft.com/office/drawing/2014/main" id="{01AEDF92-E83B-4A4E-AA02-1843599D92AA}"/>
              </a:ext>
            </a:extLst>
          </p:cNvPr>
          <p:cNvSpPr>
            <a:spLocks noGrp="1"/>
          </p:cNvSpPr>
          <p:nvPr>
            <p:ph type="title"/>
          </p:nvPr>
        </p:nvSpPr>
        <p:spPr>
          <a:xfrm>
            <a:off x="6948983" y="2352452"/>
            <a:ext cx="4320680" cy="1139825"/>
          </a:xfrm>
        </p:spPr>
        <p:txBody>
          <a:bodyPr/>
          <a:lstStyle/>
          <a:p>
            <a:r>
              <a:rPr lang="de-AT" dirty="0" err="1"/>
              <a:t>Hygienic</a:t>
            </a:r>
            <a:r>
              <a:rPr lang="de-AT" dirty="0"/>
              <a:t> Stand </a:t>
            </a:r>
            <a:r>
              <a:rPr lang="de-AT" dirty="0">
                <a:solidFill>
                  <a:schemeClr val="accent4">
                    <a:lumMod val="75000"/>
                  </a:schemeClr>
                </a:solidFill>
              </a:rPr>
              <a:t>SHORT</a:t>
            </a:r>
            <a:r>
              <a:rPr lang="de-AT" dirty="0"/>
              <a:t> </a:t>
            </a:r>
            <a:r>
              <a:rPr lang="de-AT" dirty="0" err="1"/>
              <a:t>version</a:t>
            </a:r>
            <a:endParaRPr lang="de-AT" dirty="0"/>
          </a:p>
        </p:txBody>
      </p:sp>
      <p:sp>
        <p:nvSpPr>
          <p:cNvPr id="29" name="Isosceles Triangle 28">
            <a:extLst>
              <a:ext uri="{FF2B5EF4-FFF2-40B4-BE49-F238E27FC236}">
                <a16:creationId xmlns:a16="http://schemas.microsoft.com/office/drawing/2014/main" id="{222CDA01-E020-4BC0-872F-E400AA7107CE}"/>
              </a:ext>
            </a:extLst>
          </p:cNvPr>
          <p:cNvSpPr/>
          <p:nvPr/>
        </p:nvSpPr>
        <p:spPr>
          <a:xfrm>
            <a:off x="3996655" y="-104691"/>
            <a:ext cx="1296144" cy="6945229"/>
          </a:xfrm>
          <a:prstGeom prst="triangle">
            <a:avLst>
              <a:gd name="adj" fmla="val 10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22676814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680B16EB-0DAC-4CEC-8C2C-55F6547803D7}"/>
              </a:ext>
            </a:extLst>
          </p:cNvPr>
          <p:cNvSpPr>
            <a:spLocks noGrp="1"/>
          </p:cNvSpPr>
          <p:nvPr>
            <p:ph type="ftr" sz="quarter" idx="3"/>
          </p:nvPr>
        </p:nvSpPr>
        <p:spPr/>
        <p:txBody>
          <a:bodyPr/>
          <a:lstStyle/>
          <a:p>
            <a:r>
              <a:rPr lang="en-US"/>
              <a:t>© HL Display 2017 – All rights reserved</a:t>
            </a:r>
            <a:endParaRPr lang="fr-FR" dirty="0"/>
          </a:p>
        </p:txBody>
      </p:sp>
      <p:sp>
        <p:nvSpPr>
          <p:cNvPr id="13" name="Text Placeholder 10">
            <a:extLst>
              <a:ext uri="{FF2B5EF4-FFF2-40B4-BE49-F238E27FC236}">
                <a16:creationId xmlns:a16="http://schemas.microsoft.com/office/drawing/2014/main" id="{7D0AF6F0-AA11-4103-B7D5-FD35B162B6DB}"/>
              </a:ext>
            </a:extLst>
          </p:cNvPr>
          <p:cNvSpPr>
            <a:spLocks noGrp="1"/>
          </p:cNvSpPr>
          <p:nvPr>
            <p:ph type="body" sz="quarter" idx="11"/>
          </p:nvPr>
        </p:nvSpPr>
        <p:spPr>
          <a:xfrm>
            <a:off x="9969593" y="899989"/>
            <a:ext cx="1803926" cy="3959671"/>
          </a:xfrm>
        </p:spPr>
        <p:txBody>
          <a:bodyPr/>
          <a:lstStyle/>
          <a:p>
            <a:r>
              <a:rPr lang="de-AT" sz="1400" dirty="0" err="1"/>
              <a:t>Hygienic</a:t>
            </a:r>
            <a:r>
              <a:rPr lang="de-AT" sz="1400" dirty="0"/>
              <a:t> Stand SHORT </a:t>
            </a:r>
            <a:r>
              <a:rPr lang="de-AT" sz="1400" dirty="0" err="1"/>
              <a:t>version</a:t>
            </a:r>
            <a:r>
              <a:rPr lang="de-AT" sz="1400" dirty="0"/>
              <a:t> </a:t>
            </a:r>
            <a:r>
              <a:rPr lang="de-AT" sz="1400" dirty="0" err="1"/>
              <a:t>with</a:t>
            </a:r>
            <a:r>
              <a:rPr lang="de-AT" sz="1400" dirty="0"/>
              <a:t> tissue holder, </a:t>
            </a:r>
            <a:r>
              <a:rPr lang="de-AT" sz="1400" dirty="0" err="1"/>
              <a:t>disposable</a:t>
            </a:r>
            <a:r>
              <a:rPr lang="de-AT" sz="1400" dirty="0"/>
              <a:t> </a:t>
            </a:r>
            <a:r>
              <a:rPr lang="de-AT" sz="1400" dirty="0" err="1"/>
              <a:t>gloves</a:t>
            </a:r>
            <a:r>
              <a:rPr lang="de-AT" sz="1400" dirty="0"/>
              <a:t> holder and </a:t>
            </a:r>
            <a:r>
              <a:rPr lang="de-AT" sz="1400" dirty="0" err="1"/>
              <a:t>waste</a:t>
            </a:r>
            <a:r>
              <a:rPr lang="de-AT" sz="1400" dirty="0"/>
              <a:t> bin  </a:t>
            </a:r>
          </a:p>
        </p:txBody>
      </p:sp>
      <p:sp>
        <p:nvSpPr>
          <p:cNvPr id="14" name="Title 9">
            <a:extLst>
              <a:ext uri="{FF2B5EF4-FFF2-40B4-BE49-F238E27FC236}">
                <a16:creationId xmlns:a16="http://schemas.microsoft.com/office/drawing/2014/main" id="{F93F0713-19B2-45E9-97F7-4C470DD07A98}"/>
              </a:ext>
            </a:extLst>
          </p:cNvPr>
          <p:cNvSpPr>
            <a:spLocks noGrp="1"/>
          </p:cNvSpPr>
          <p:nvPr>
            <p:ph type="title"/>
          </p:nvPr>
        </p:nvSpPr>
        <p:spPr>
          <a:xfrm>
            <a:off x="9973319" y="408236"/>
            <a:ext cx="1728192" cy="1139825"/>
          </a:xfrm>
        </p:spPr>
        <p:txBody>
          <a:bodyPr/>
          <a:lstStyle/>
          <a:p>
            <a:r>
              <a:rPr lang="de-AT" sz="2800" dirty="0" err="1"/>
              <a:t>Example</a:t>
            </a:r>
            <a:r>
              <a:rPr lang="de-AT" sz="2800" dirty="0"/>
              <a:t> 3</a:t>
            </a:r>
          </a:p>
        </p:txBody>
      </p:sp>
      <p:pic>
        <p:nvPicPr>
          <p:cNvPr id="2" name="Picture 1">
            <a:extLst>
              <a:ext uri="{FF2B5EF4-FFF2-40B4-BE49-F238E27FC236}">
                <a16:creationId xmlns:a16="http://schemas.microsoft.com/office/drawing/2014/main" id="{2C4A7824-0219-49D8-B785-2B323E2975A5}"/>
              </a:ext>
            </a:extLst>
          </p:cNvPr>
          <p:cNvPicPr>
            <a:picLocks noChangeAspect="1"/>
          </p:cNvPicPr>
          <p:nvPr/>
        </p:nvPicPr>
        <p:blipFill>
          <a:blip r:embed="rId2"/>
          <a:stretch>
            <a:fillRect/>
          </a:stretch>
        </p:blipFill>
        <p:spPr>
          <a:xfrm>
            <a:off x="0" y="0"/>
            <a:ext cx="9713731" cy="6840538"/>
          </a:xfrm>
          <a:prstGeom prst="rect">
            <a:avLst/>
          </a:prstGeom>
        </p:spPr>
      </p:pic>
    </p:spTree>
    <p:extLst>
      <p:ext uri="{BB962C8B-B14F-4D97-AF65-F5344CB8AC3E}">
        <p14:creationId xmlns:p14="http://schemas.microsoft.com/office/powerpoint/2010/main" val="12391509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6B0AE1-B8CF-40A3-9364-698C6EFC39F0}"/>
              </a:ext>
            </a:extLst>
          </p:cNvPr>
          <p:cNvSpPr>
            <a:spLocks noGrp="1"/>
          </p:cNvSpPr>
          <p:nvPr>
            <p:ph type="title"/>
          </p:nvPr>
        </p:nvSpPr>
        <p:spPr/>
        <p:txBody>
          <a:bodyPr/>
          <a:lstStyle/>
          <a:p>
            <a:r>
              <a:rPr lang="de-AT" dirty="0"/>
              <a:t>RAL Colors</a:t>
            </a:r>
          </a:p>
        </p:txBody>
      </p:sp>
      <p:sp>
        <p:nvSpPr>
          <p:cNvPr id="3" name="Text Placeholder 2">
            <a:extLst>
              <a:ext uri="{FF2B5EF4-FFF2-40B4-BE49-F238E27FC236}">
                <a16:creationId xmlns:a16="http://schemas.microsoft.com/office/drawing/2014/main" id="{65985017-BCA0-4AFE-AAFB-EC6F64DEC424}"/>
              </a:ext>
            </a:extLst>
          </p:cNvPr>
          <p:cNvSpPr>
            <a:spLocks noGrp="1"/>
          </p:cNvSpPr>
          <p:nvPr>
            <p:ph type="body" sz="quarter" idx="11"/>
          </p:nvPr>
        </p:nvSpPr>
        <p:spPr>
          <a:xfrm>
            <a:off x="972319" y="1440433"/>
            <a:ext cx="3817193" cy="3959671"/>
          </a:xfrm>
        </p:spPr>
        <p:txBody>
          <a:bodyPr/>
          <a:lstStyle/>
          <a:p>
            <a:r>
              <a:rPr lang="en-US" sz="2400" dirty="0"/>
              <a:t>Here is the list of basic RALs, which are on stock all the time. If you require a RAL-color outside the list, please get in touch with your responsible HL Display Key Account Manager.</a:t>
            </a:r>
          </a:p>
          <a:p>
            <a:endParaRPr lang="de-AT" sz="2400" dirty="0"/>
          </a:p>
        </p:txBody>
      </p:sp>
      <p:graphicFrame>
        <p:nvGraphicFramePr>
          <p:cNvPr id="6" name="Object 5">
            <a:extLst>
              <a:ext uri="{FF2B5EF4-FFF2-40B4-BE49-F238E27FC236}">
                <a16:creationId xmlns:a16="http://schemas.microsoft.com/office/drawing/2014/main" id="{D62463B9-4F2C-463F-8063-E417D7D7E763}"/>
              </a:ext>
            </a:extLst>
          </p:cNvPr>
          <p:cNvGraphicFramePr>
            <a:graphicFrameLocks noChangeAspect="1"/>
          </p:cNvGraphicFramePr>
          <p:nvPr>
            <p:extLst>
              <p:ext uri="{D42A27DB-BD31-4B8C-83A1-F6EECF244321}">
                <p14:modId xmlns:p14="http://schemas.microsoft.com/office/powerpoint/2010/main" val="294490688"/>
              </p:ext>
            </p:extLst>
          </p:nvPr>
        </p:nvGraphicFramePr>
        <p:xfrm>
          <a:off x="5580831" y="60727"/>
          <a:ext cx="3041774" cy="6746586"/>
        </p:xfrm>
        <a:graphic>
          <a:graphicData uri="http://schemas.openxmlformats.org/presentationml/2006/ole">
            <mc:AlternateContent xmlns:mc="http://schemas.openxmlformats.org/markup-compatibility/2006">
              <mc:Choice xmlns:v="urn:schemas-microsoft-com:vml" Requires="v">
                <p:oleObj spid="_x0000_s4098" name="Worksheet" r:id="rId3" imgW="2825861" imgH="6267581" progId="Excel.Sheet.12">
                  <p:embed/>
                </p:oleObj>
              </mc:Choice>
              <mc:Fallback>
                <p:oleObj name="Worksheet" r:id="rId3" imgW="2825861" imgH="6267581" progId="Excel.Sheet.12">
                  <p:embed/>
                  <p:pic>
                    <p:nvPicPr>
                      <p:cNvPr id="6" name="Object 5">
                        <a:extLst>
                          <a:ext uri="{FF2B5EF4-FFF2-40B4-BE49-F238E27FC236}">
                            <a16:creationId xmlns:a16="http://schemas.microsoft.com/office/drawing/2014/main" id="{D62463B9-4F2C-463F-8063-E417D7D7E763}"/>
                          </a:ext>
                        </a:extLst>
                      </p:cNvPr>
                      <p:cNvPicPr/>
                      <p:nvPr/>
                    </p:nvPicPr>
                    <p:blipFill>
                      <a:blip r:embed="rId4"/>
                      <a:stretch>
                        <a:fillRect/>
                      </a:stretch>
                    </p:blipFill>
                    <p:spPr>
                      <a:xfrm>
                        <a:off x="5580831" y="60727"/>
                        <a:ext cx="3041774" cy="6746586"/>
                      </a:xfrm>
                      <a:prstGeom prst="rect">
                        <a:avLst/>
                      </a:prstGeom>
                    </p:spPr>
                  </p:pic>
                </p:oleObj>
              </mc:Fallback>
            </mc:AlternateContent>
          </a:graphicData>
        </a:graphic>
      </p:graphicFrame>
    </p:spTree>
    <p:extLst>
      <p:ext uri="{BB962C8B-B14F-4D97-AF65-F5344CB8AC3E}">
        <p14:creationId xmlns:p14="http://schemas.microsoft.com/office/powerpoint/2010/main" val="34338645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5506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descr="A picture containing red, white, light, traffic&#10;&#10;Description automatically generated">
            <a:extLst>
              <a:ext uri="{FF2B5EF4-FFF2-40B4-BE49-F238E27FC236}">
                <a16:creationId xmlns:a16="http://schemas.microsoft.com/office/drawing/2014/main" id="{1E375836-4443-4153-A34B-65220A4170CE}"/>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14703" r="14703"/>
          <a:stretch>
            <a:fillRect/>
          </a:stretch>
        </p:blipFill>
        <p:spPr/>
      </p:pic>
      <p:sp>
        <p:nvSpPr>
          <p:cNvPr id="11" name="Text Placeholder 10">
            <a:extLst>
              <a:ext uri="{FF2B5EF4-FFF2-40B4-BE49-F238E27FC236}">
                <a16:creationId xmlns:a16="http://schemas.microsoft.com/office/drawing/2014/main" id="{0FB7D7A6-F5EF-451A-BFFD-A091CC21B3B1}"/>
              </a:ext>
            </a:extLst>
          </p:cNvPr>
          <p:cNvSpPr>
            <a:spLocks noGrp="1"/>
          </p:cNvSpPr>
          <p:nvPr>
            <p:ph type="body" sz="quarter" idx="12"/>
          </p:nvPr>
        </p:nvSpPr>
        <p:spPr>
          <a:xfrm>
            <a:off x="5724846" y="1476053"/>
            <a:ext cx="5904657" cy="2305050"/>
          </a:xfrm>
        </p:spPr>
        <p:txBody>
          <a:bodyPr/>
          <a:lstStyle/>
          <a:p>
            <a:r>
              <a:rPr lang="en-US" sz="1800" dirty="0">
                <a:solidFill>
                  <a:schemeClr val="tx1">
                    <a:lumMod val="60000"/>
                    <a:lumOff val="40000"/>
                  </a:schemeClr>
                </a:solidFill>
              </a:rPr>
              <a:t>This Hygienic Stand provides shoppers at the store entrance with a sanitizer holder (two versions available), disposable gloves holder, tissue holder, paper towel holder, mask dispenser and waste bin to increase the safety of your customers. </a:t>
            </a:r>
            <a:endParaRPr lang="de-AT" sz="1800" dirty="0">
              <a:solidFill>
                <a:schemeClr val="tx1">
                  <a:lumMod val="60000"/>
                  <a:lumOff val="40000"/>
                </a:schemeClr>
              </a:solidFill>
            </a:endParaRPr>
          </a:p>
          <a:p>
            <a:r>
              <a:rPr lang="en-US" sz="1800" dirty="0">
                <a:solidFill>
                  <a:schemeClr val="tx1">
                    <a:lumMod val="60000"/>
                    <a:lumOff val="40000"/>
                  </a:schemeClr>
                </a:solidFill>
              </a:rPr>
              <a:t>All the mentioned accessories can be mounted to this stand and are fully customizable due to the needs of each company. The accessories can also be mounted on at any height. Two Sizes available – tall and short.</a:t>
            </a:r>
          </a:p>
          <a:p>
            <a:r>
              <a:rPr lang="en-US" sz="1800" dirty="0">
                <a:solidFill>
                  <a:schemeClr val="tx1">
                    <a:lumMod val="60000"/>
                    <a:lumOff val="40000"/>
                  </a:schemeClr>
                </a:solidFill>
              </a:rPr>
              <a:t>Hygienic Stand </a:t>
            </a:r>
            <a:r>
              <a:rPr lang="en-US" sz="1800" dirty="0">
                <a:solidFill>
                  <a:schemeClr val="accent4">
                    <a:lumMod val="75000"/>
                  </a:schemeClr>
                </a:solidFill>
              </a:rPr>
              <a:t>DOES NOT INCLUDE SANITIZER LIQUID</a:t>
            </a:r>
            <a:endParaRPr lang="de-AT" sz="1800" dirty="0">
              <a:solidFill>
                <a:schemeClr val="tx1">
                  <a:lumMod val="60000"/>
                  <a:lumOff val="40000"/>
                </a:schemeClr>
              </a:solidFill>
            </a:endParaRPr>
          </a:p>
          <a:p>
            <a:pPr marL="285750" indent="-285750">
              <a:buFont typeface="Arial" panose="020B0604020202020204" pitchFamily="34" charset="0"/>
              <a:buChar char="•"/>
            </a:pPr>
            <a:r>
              <a:rPr lang="en-US" sz="1800" dirty="0">
                <a:solidFill>
                  <a:schemeClr val="tx1">
                    <a:lumMod val="60000"/>
                    <a:lumOff val="40000"/>
                  </a:schemeClr>
                </a:solidFill>
              </a:rPr>
              <a:t>Any RAL color possible (list of RAL colors pls see later)</a:t>
            </a:r>
            <a:endParaRPr lang="de-AT" sz="1800" dirty="0">
              <a:solidFill>
                <a:schemeClr val="tx1">
                  <a:lumMod val="60000"/>
                  <a:lumOff val="40000"/>
                </a:schemeClr>
              </a:solidFill>
            </a:endParaRPr>
          </a:p>
          <a:p>
            <a:pPr marL="285750" lvl="0" indent="-285750">
              <a:buFont typeface="Arial" panose="020B0604020202020204" pitchFamily="34" charset="0"/>
              <a:buChar char="•"/>
            </a:pPr>
            <a:r>
              <a:rPr lang="en-US" sz="1800" dirty="0">
                <a:solidFill>
                  <a:schemeClr val="tx1">
                    <a:lumMod val="60000"/>
                    <a:lumOff val="40000"/>
                  </a:schemeClr>
                </a:solidFill>
              </a:rPr>
              <a:t>Material: powder coated steel, PET</a:t>
            </a:r>
            <a:endParaRPr lang="de-AT" sz="1800" dirty="0">
              <a:solidFill>
                <a:schemeClr val="tx1">
                  <a:lumMod val="60000"/>
                  <a:lumOff val="40000"/>
                </a:schemeClr>
              </a:solidFill>
            </a:endParaRPr>
          </a:p>
          <a:p>
            <a:pPr marL="285750" lvl="0" indent="-285750">
              <a:buFont typeface="Arial" panose="020B0604020202020204" pitchFamily="34" charset="0"/>
              <a:buChar char="•"/>
            </a:pPr>
            <a:r>
              <a:rPr lang="de-AT" sz="1800" dirty="0">
                <a:solidFill>
                  <a:schemeClr val="tx1">
                    <a:lumMod val="60000"/>
                    <a:lumOff val="40000"/>
                  </a:schemeClr>
                </a:solidFill>
              </a:rPr>
              <a:t>Dimensions TALL Version: </a:t>
            </a:r>
          </a:p>
          <a:p>
            <a:pPr lvl="0"/>
            <a:r>
              <a:rPr lang="de-AT" sz="1800" dirty="0">
                <a:solidFill>
                  <a:schemeClr val="tx1">
                    <a:lumMod val="60000"/>
                    <a:lumOff val="40000"/>
                  </a:schemeClr>
                </a:solidFill>
              </a:rPr>
              <a:t>	1600 (excl. PVC Info Holder on top) x 400 x 400 mm</a:t>
            </a:r>
          </a:p>
          <a:p>
            <a:pPr marL="285750" lvl="0" indent="-285750">
              <a:buFont typeface="Arial" panose="020B0604020202020204" pitchFamily="34" charset="0"/>
              <a:buChar char="•"/>
            </a:pPr>
            <a:r>
              <a:rPr lang="de-AT" sz="1800" dirty="0">
                <a:solidFill>
                  <a:schemeClr val="tx1">
                    <a:lumMod val="60000"/>
                    <a:lumOff val="40000"/>
                  </a:schemeClr>
                </a:solidFill>
              </a:rPr>
              <a:t>Dimensions SHORT Version: </a:t>
            </a:r>
          </a:p>
          <a:p>
            <a:pPr lvl="0"/>
            <a:r>
              <a:rPr lang="de-AT" sz="1800" dirty="0">
                <a:solidFill>
                  <a:schemeClr val="tx1">
                    <a:lumMod val="60000"/>
                    <a:lumOff val="40000"/>
                  </a:schemeClr>
                </a:solidFill>
              </a:rPr>
              <a:t>	800 x 400 x 400 mm</a:t>
            </a:r>
          </a:p>
          <a:p>
            <a:pPr lvl="0"/>
            <a:endParaRPr lang="de-AT" sz="1800" dirty="0">
              <a:solidFill>
                <a:schemeClr val="tx1">
                  <a:lumMod val="60000"/>
                  <a:lumOff val="40000"/>
                </a:schemeClr>
              </a:solidFill>
            </a:endParaRPr>
          </a:p>
          <a:p>
            <a:endParaRPr lang="de-AT" sz="1800" dirty="0">
              <a:solidFill>
                <a:schemeClr val="tx1">
                  <a:lumMod val="60000"/>
                  <a:lumOff val="40000"/>
                </a:schemeClr>
              </a:solidFill>
            </a:endParaRPr>
          </a:p>
        </p:txBody>
      </p:sp>
      <p:sp>
        <p:nvSpPr>
          <p:cNvPr id="10" name="Title 9">
            <a:extLst>
              <a:ext uri="{FF2B5EF4-FFF2-40B4-BE49-F238E27FC236}">
                <a16:creationId xmlns:a16="http://schemas.microsoft.com/office/drawing/2014/main" id="{2A2389B1-F89D-4E63-9F0D-E1C9576302CE}"/>
              </a:ext>
            </a:extLst>
          </p:cNvPr>
          <p:cNvSpPr>
            <a:spLocks noGrp="1"/>
          </p:cNvSpPr>
          <p:nvPr>
            <p:ph type="title" idx="4294967295"/>
          </p:nvPr>
        </p:nvSpPr>
        <p:spPr>
          <a:xfrm>
            <a:off x="5652839" y="552450"/>
            <a:ext cx="6156896" cy="1139825"/>
          </a:xfrm>
        </p:spPr>
        <p:txBody>
          <a:bodyPr/>
          <a:lstStyle/>
          <a:p>
            <a:r>
              <a:rPr lang="de-AT" dirty="0"/>
              <a:t>HL Display </a:t>
            </a:r>
            <a:r>
              <a:rPr lang="de-AT" dirty="0" err="1"/>
              <a:t>Hygienic</a:t>
            </a:r>
            <a:r>
              <a:rPr lang="de-AT" dirty="0"/>
              <a:t> Stand</a:t>
            </a:r>
            <a:endParaRPr lang="de-AT" sz="2000" dirty="0">
              <a:solidFill>
                <a:schemeClr val="accent4">
                  <a:lumMod val="75000"/>
                </a:schemeClr>
              </a:solidFill>
            </a:endParaRPr>
          </a:p>
        </p:txBody>
      </p:sp>
    </p:spTree>
    <p:extLst>
      <p:ext uri="{BB962C8B-B14F-4D97-AF65-F5344CB8AC3E}">
        <p14:creationId xmlns:p14="http://schemas.microsoft.com/office/powerpoint/2010/main" val="13599198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1DDC62-401E-4A69-854E-53E9AB6560DA}"/>
              </a:ext>
            </a:extLst>
          </p:cNvPr>
          <p:cNvPicPr>
            <a:picLocks noChangeAspect="1"/>
          </p:cNvPicPr>
          <p:nvPr/>
        </p:nvPicPr>
        <p:blipFill>
          <a:blip r:embed="rId2"/>
          <a:stretch>
            <a:fillRect/>
          </a:stretch>
        </p:blipFill>
        <p:spPr>
          <a:xfrm>
            <a:off x="9169478" y="1188021"/>
            <a:ext cx="2374467" cy="4147928"/>
          </a:xfrm>
          <a:prstGeom prst="rect">
            <a:avLst/>
          </a:prstGeom>
        </p:spPr>
      </p:pic>
      <p:sp>
        <p:nvSpPr>
          <p:cNvPr id="10" name="Title 9">
            <a:extLst>
              <a:ext uri="{FF2B5EF4-FFF2-40B4-BE49-F238E27FC236}">
                <a16:creationId xmlns:a16="http://schemas.microsoft.com/office/drawing/2014/main" id="{0C8C56E4-6EB2-4A6E-BE12-91DA0B591B23}"/>
              </a:ext>
            </a:extLst>
          </p:cNvPr>
          <p:cNvSpPr>
            <a:spLocks noGrp="1"/>
          </p:cNvSpPr>
          <p:nvPr>
            <p:ph type="title"/>
          </p:nvPr>
        </p:nvSpPr>
        <p:spPr/>
        <p:txBody>
          <a:bodyPr/>
          <a:lstStyle/>
          <a:p>
            <a:r>
              <a:rPr lang="de-AT" dirty="0"/>
              <a:t>Accessoires</a:t>
            </a:r>
          </a:p>
        </p:txBody>
      </p:sp>
      <p:sp>
        <p:nvSpPr>
          <p:cNvPr id="22" name="Text Box 2">
            <a:extLst>
              <a:ext uri="{FF2B5EF4-FFF2-40B4-BE49-F238E27FC236}">
                <a16:creationId xmlns:a16="http://schemas.microsoft.com/office/drawing/2014/main" id="{5804852D-6D79-4C7E-AC51-B72506E738B1}"/>
              </a:ext>
            </a:extLst>
          </p:cNvPr>
          <p:cNvSpPr txBox="1">
            <a:spLocks noChangeArrowheads="1"/>
          </p:cNvSpPr>
          <p:nvPr/>
        </p:nvSpPr>
        <p:spPr bwMode="auto">
          <a:xfrm>
            <a:off x="468263" y="3025944"/>
            <a:ext cx="1666206" cy="525145"/>
          </a:xfrm>
          <a:prstGeom prst="rect">
            <a:avLst/>
          </a:prstGeom>
          <a:noFill/>
          <a:ln w="9525">
            <a:noFill/>
            <a:miter lim="800000"/>
            <a:headEnd/>
            <a:tailEnd/>
          </a:ln>
        </p:spPr>
        <p:txBody>
          <a:bodyPr rot="0" vert="horz" wrap="square" lIns="91440" tIns="45720" rIns="91440" bIns="45720" anchor="t" anchorCtr="0">
            <a:noAutofit/>
          </a:bodyPr>
          <a:lstStyle/>
          <a:p>
            <a:pPr>
              <a:lnSpc>
                <a:spcPct val="107000"/>
              </a:lnSpc>
              <a:spcAft>
                <a:spcPts val="800"/>
              </a:spcAft>
            </a:pPr>
            <a:r>
              <a:rPr lang="de-AT" sz="1100" dirty="0">
                <a:effectLst/>
                <a:latin typeface="Arial" panose="020B0604020202020204" pitchFamily="34" charset="0"/>
                <a:ea typeface="Calibri" panose="020F0502020204030204" pitchFamily="34" charset="0"/>
                <a:cs typeface="Times New Roman" panose="02020603050405020304" pitchFamily="18" charset="0"/>
              </a:rPr>
              <a:t>PVC </a:t>
            </a:r>
            <a:r>
              <a:rPr lang="de-AT" sz="1100" dirty="0">
                <a:ea typeface="Calibri" panose="020F0502020204030204" pitchFamily="34" charset="0"/>
                <a:cs typeface="Times New Roman" panose="02020603050405020304" pitchFamily="18" charset="0"/>
              </a:rPr>
              <a:t>Info Holder (Printed Inlay “</a:t>
            </a:r>
            <a:r>
              <a:rPr lang="de-AT" sz="1100" dirty="0" err="1">
                <a:ea typeface="Calibri" panose="020F0502020204030204" pitchFamily="34" charset="0"/>
                <a:cs typeface="Times New Roman" panose="02020603050405020304" pitchFamily="18" charset="0"/>
              </a:rPr>
              <a:t>Hygienic</a:t>
            </a:r>
            <a:r>
              <a:rPr lang="de-AT" sz="1100" dirty="0">
                <a:ea typeface="Calibri" panose="020F0502020204030204" pitchFamily="34" charset="0"/>
                <a:cs typeface="Times New Roman" panose="02020603050405020304" pitchFamily="18" charset="0"/>
              </a:rPr>
              <a:t> Point“ not </a:t>
            </a:r>
            <a:r>
              <a:rPr lang="de-AT" sz="1100" dirty="0" err="1">
                <a:ea typeface="Calibri" panose="020F0502020204030204" pitchFamily="34" charset="0"/>
                <a:cs typeface="Times New Roman" panose="02020603050405020304" pitchFamily="18" charset="0"/>
              </a:rPr>
              <a:t>included</a:t>
            </a:r>
            <a:r>
              <a:rPr lang="de-AT" sz="1100" dirty="0">
                <a:ea typeface="Calibri" panose="020F0502020204030204" pitchFamily="34" charset="0"/>
                <a:cs typeface="Times New Roman" panose="02020603050405020304" pitchFamily="18" charset="0"/>
              </a:rPr>
              <a:t>)</a:t>
            </a:r>
            <a:endParaRPr lang="de-AT"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AT" sz="1100" dirty="0">
                <a:effectLst/>
                <a:latin typeface="Arial" panose="020B0604020202020204" pitchFamily="34" charset="0"/>
                <a:ea typeface="Calibri" panose="020F0502020204030204" pitchFamily="34" charset="0"/>
                <a:cs typeface="Times New Roman" panose="02020603050405020304" pitchFamily="18" charset="0"/>
              </a:rPr>
              <a:t> </a:t>
            </a:r>
            <a:endParaRPr lang="de-AT"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3" name="Text Box 2">
            <a:extLst>
              <a:ext uri="{FF2B5EF4-FFF2-40B4-BE49-F238E27FC236}">
                <a16:creationId xmlns:a16="http://schemas.microsoft.com/office/drawing/2014/main" id="{021053BD-B4F6-4D8C-BF23-21480AB2F071}"/>
              </a:ext>
            </a:extLst>
          </p:cNvPr>
          <p:cNvSpPr txBox="1">
            <a:spLocks noChangeArrowheads="1"/>
          </p:cNvSpPr>
          <p:nvPr/>
        </p:nvSpPr>
        <p:spPr bwMode="auto">
          <a:xfrm>
            <a:off x="1956333" y="3013709"/>
            <a:ext cx="1781582" cy="651510"/>
          </a:xfrm>
          <a:prstGeom prst="rect">
            <a:avLst/>
          </a:prstGeom>
          <a:noFill/>
          <a:ln w="9525">
            <a:noFill/>
            <a:miter lim="800000"/>
            <a:headEnd/>
            <a:tailEnd/>
          </a:ln>
        </p:spPr>
        <p:txBody>
          <a:bodyPr rot="0" vert="horz" wrap="square" lIns="91440" tIns="45720" rIns="91440" bIns="45720" anchor="t" anchorCtr="0">
            <a:noAutofit/>
          </a:bodyPr>
          <a:lstStyle/>
          <a:p>
            <a:pPr algn="r">
              <a:lnSpc>
                <a:spcPct val="107000"/>
              </a:lnSpc>
              <a:spcAft>
                <a:spcPts val="800"/>
              </a:spcAft>
            </a:pPr>
            <a:r>
              <a:rPr lang="de-AT" sz="1100" dirty="0">
                <a:effectLst/>
                <a:latin typeface="Arial" panose="020B0604020202020204" pitchFamily="34" charset="0"/>
                <a:ea typeface="Calibri" panose="020F0502020204030204" pitchFamily="34" charset="0"/>
                <a:cs typeface="Times New Roman" panose="02020603050405020304" pitchFamily="18" charset="0"/>
              </a:rPr>
              <a:t>Tissue/</a:t>
            </a:r>
            <a:r>
              <a:rPr lang="de-AT" sz="1100" dirty="0" err="1">
                <a:ea typeface="Calibri" panose="020F0502020204030204" pitchFamily="34" charset="0"/>
                <a:cs typeface="Times New Roman" panose="02020603050405020304" pitchFamily="18" charset="0"/>
              </a:rPr>
              <a:t>G</a:t>
            </a:r>
            <a:r>
              <a:rPr lang="de-AT" sz="1100" dirty="0" err="1">
                <a:effectLst/>
                <a:latin typeface="Arial" panose="020B0604020202020204" pitchFamily="34" charset="0"/>
                <a:ea typeface="Calibri" panose="020F0502020204030204" pitchFamily="34" charset="0"/>
                <a:cs typeface="Times New Roman" panose="02020603050405020304" pitchFamily="18" charset="0"/>
              </a:rPr>
              <a:t>loves</a:t>
            </a:r>
            <a:r>
              <a:rPr lang="de-AT" sz="1100" dirty="0">
                <a:effectLst/>
                <a:latin typeface="Arial" panose="020B0604020202020204" pitchFamily="34" charset="0"/>
                <a:ea typeface="Calibri" panose="020F0502020204030204" pitchFamily="34" charset="0"/>
                <a:cs typeface="Times New Roman" panose="02020603050405020304" pitchFamily="18" charset="0"/>
              </a:rPr>
              <a:t> Holder (</a:t>
            </a:r>
            <a:r>
              <a:rPr lang="de-AT" sz="1100" dirty="0" err="1">
                <a:effectLst/>
                <a:latin typeface="Arial" panose="020B0604020202020204" pitchFamily="34" charset="0"/>
                <a:ea typeface="Calibri" panose="020F0502020204030204" pitchFamily="34" charset="0"/>
                <a:cs typeface="Times New Roman" panose="02020603050405020304" pitchFamily="18" charset="0"/>
              </a:rPr>
              <a:t>tissues</a:t>
            </a:r>
            <a:r>
              <a:rPr lang="de-AT" sz="1100" dirty="0">
                <a:effectLst/>
                <a:latin typeface="Arial" panose="020B0604020202020204" pitchFamily="34" charset="0"/>
                <a:ea typeface="Calibri" panose="020F0502020204030204" pitchFamily="34" charset="0"/>
                <a:cs typeface="Times New Roman" panose="02020603050405020304" pitchFamily="18" charset="0"/>
              </a:rPr>
              <a:t>/</a:t>
            </a:r>
            <a:r>
              <a:rPr lang="de-AT" sz="1100" dirty="0" err="1">
                <a:effectLst/>
                <a:latin typeface="Arial" panose="020B0604020202020204" pitchFamily="34" charset="0"/>
                <a:ea typeface="Calibri" panose="020F0502020204030204" pitchFamily="34" charset="0"/>
                <a:cs typeface="Times New Roman" panose="02020603050405020304" pitchFamily="18" charset="0"/>
              </a:rPr>
              <a:t>Gloves</a:t>
            </a:r>
            <a:r>
              <a:rPr lang="de-AT" sz="1100" dirty="0">
                <a:effectLst/>
                <a:latin typeface="Arial" panose="020B0604020202020204" pitchFamily="34" charset="0"/>
                <a:ea typeface="Calibri" panose="020F0502020204030204" pitchFamily="34" charset="0"/>
                <a:cs typeface="Times New Roman" panose="02020603050405020304" pitchFamily="18" charset="0"/>
              </a:rPr>
              <a:t> not </a:t>
            </a:r>
            <a:r>
              <a:rPr lang="de-AT" sz="1100" dirty="0" err="1">
                <a:effectLst/>
                <a:latin typeface="Arial" panose="020B0604020202020204" pitchFamily="34" charset="0"/>
                <a:ea typeface="Calibri" panose="020F0502020204030204" pitchFamily="34" charset="0"/>
                <a:cs typeface="Times New Roman" panose="02020603050405020304" pitchFamily="18" charset="0"/>
              </a:rPr>
              <a:t>included</a:t>
            </a:r>
            <a:r>
              <a:rPr lang="de-AT" sz="1100" dirty="0">
                <a:effectLst/>
                <a:latin typeface="Arial" panose="020B0604020202020204" pitchFamily="34" charset="0"/>
                <a:ea typeface="Calibri" panose="020F0502020204030204" pitchFamily="34" charset="0"/>
                <a:cs typeface="Times New Roman" panose="02020603050405020304" pitchFamily="18" charset="0"/>
              </a:rPr>
              <a:t>)</a:t>
            </a:r>
            <a:endParaRPr lang="de-AT" sz="1100" dirty="0">
              <a:effectLst/>
              <a:latin typeface="Calibri" panose="020F0502020204030204" pitchFamily="34" charset="0"/>
              <a:ea typeface="Calibri" panose="020F0502020204030204" pitchFamily="34" charset="0"/>
              <a:cs typeface="Times New Roman" panose="02020603050405020304" pitchFamily="18" charset="0"/>
            </a:endParaRPr>
          </a:p>
          <a:p>
            <a:pPr algn="r">
              <a:lnSpc>
                <a:spcPct val="107000"/>
              </a:lnSpc>
              <a:spcAft>
                <a:spcPts val="800"/>
              </a:spcAft>
            </a:pPr>
            <a:r>
              <a:rPr lang="de-AT" sz="1100" dirty="0">
                <a:effectLst/>
                <a:latin typeface="Arial" panose="020B0604020202020204" pitchFamily="34" charset="0"/>
                <a:ea typeface="Calibri" panose="020F0502020204030204" pitchFamily="34" charset="0"/>
                <a:cs typeface="Times New Roman" panose="02020603050405020304" pitchFamily="18" charset="0"/>
              </a:rPr>
              <a:t> </a:t>
            </a:r>
            <a:endParaRPr lang="de-AT"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4" name="Text Box 2">
            <a:extLst>
              <a:ext uri="{FF2B5EF4-FFF2-40B4-BE49-F238E27FC236}">
                <a16:creationId xmlns:a16="http://schemas.microsoft.com/office/drawing/2014/main" id="{D76DF2BA-3724-41F3-9392-231A6EFDF1EC}"/>
              </a:ext>
            </a:extLst>
          </p:cNvPr>
          <p:cNvSpPr txBox="1">
            <a:spLocks noChangeArrowheads="1"/>
          </p:cNvSpPr>
          <p:nvPr/>
        </p:nvSpPr>
        <p:spPr bwMode="auto">
          <a:xfrm>
            <a:off x="3842592" y="2988968"/>
            <a:ext cx="1792997" cy="651510"/>
          </a:xfrm>
          <a:prstGeom prst="rect">
            <a:avLst/>
          </a:prstGeom>
          <a:noFill/>
          <a:ln w="9525">
            <a:noFill/>
            <a:miter lim="800000"/>
            <a:headEnd/>
            <a:tailEnd/>
          </a:ln>
        </p:spPr>
        <p:txBody>
          <a:bodyPr rot="0" vert="horz" wrap="square" lIns="91440" tIns="45720" rIns="91440" bIns="45720" anchor="t" anchorCtr="0">
            <a:noAutofit/>
          </a:bodyPr>
          <a:lstStyle/>
          <a:p>
            <a:pPr algn="r">
              <a:lnSpc>
                <a:spcPct val="107000"/>
              </a:lnSpc>
              <a:spcAft>
                <a:spcPts val="800"/>
              </a:spcAft>
            </a:pPr>
            <a:r>
              <a:rPr lang="de-AT" sz="1100" dirty="0">
                <a:effectLst/>
                <a:ea typeface="Calibri" panose="020F0502020204030204" pitchFamily="34" charset="0"/>
              </a:rPr>
              <a:t>Paper </a:t>
            </a:r>
            <a:r>
              <a:rPr lang="de-AT" sz="1100" dirty="0" err="1">
                <a:ea typeface="Calibri" panose="020F0502020204030204" pitchFamily="34" charset="0"/>
              </a:rPr>
              <a:t>T</a:t>
            </a:r>
            <a:r>
              <a:rPr lang="de-AT" sz="1100" dirty="0" err="1">
                <a:effectLst/>
                <a:ea typeface="Calibri" panose="020F0502020204030204" pitchFamily="34" charset="0"/>
              </a:rPr>
              <a:t>owel</a:t>
            </a:r>
            <a:r>
              <a:rPr lang="de-AT" sz="1100" dirty="0">
                <a:effectLst/>
                <a:ea typeface="Calibri" panose="020F0502020204030204" pitchFamily="34" charset="0"/>
              </a:rPr>
              <a:t> Holder</a:t>
            </a:r>
            <a:r>
              <a:rPr lang="de-AT" sz="1100" dirty="0">
                <a:ea typeface="Calibri" panose="020F0502020204030204" pitchFamily="34" charset="0"/>
              </a:rPr>
              <a:t> (Paper </a:t>
            </a:r>
            <a:r>
              <a:rPr lang="de-AT" sz="1100" dirty="0" err="1">
                <a:ea typeface="Calibri" panose="020F0502020204030204" pitchFamily="34" charset="0"/>
              </a:rPr>
              <a:t>Towel</a:t>
            </a:r>
            <a:r>
              <a:rPr lang="de-AT" sz="1100" dirty="0">
                <a:ea typeface="Calibri" panose="020F0502020204030204" pitchFamily="34" charset="0"/>
              </a:rPr>
              <a:t> not </a:t>
            </a:r>
            <a:r>
              <a:rPr lang="de-AT" sz="1100" dirty="0" err="1">
                <a:ea typeface="Calibri" panose="020F0502020204030204" pitchFamily="34" charset="0"/>
              </a:rPr>
              <a:t>included</a:t>
            </a:r>
            <a:r>
              <a:rPr lang="de-AT" sz="1100" dirty="0">
                <a:ea typeface="Calibri" panose="020F0502020204030204" pitchFamily="34" charset="0"/>
              </a:rPr>
              <a:t>)</a:t>
            </a:r>
            <a:r>
              <a:rPr lang="de-AT" sz="1100" dirty="0">
                <a:effectLst/>
                <a:ea typeface="Calibri" panose="020F0502020204030204" pitchFamily="34" charset="0"/>
              </a:rPr>
              <a:t> </a:t>
            </a:r>
          </a:p>
        </p:txBody>
      </p:sp>
      <p:sp>
        <p:nvSpPr>
          <p:cNvPr id="25" name="Text Box 2">
            <a:extLst>
              <a:ext uri="{FF2B5EF4-FFF2-40B4-BE49-F238E27FC236}">
                <a16:creationId xmlns:a16="http://schemas.microsoft.com/office/drawing/2014/main" id="{CF9C43F9-3E61-49F5-B8F0-3516E8FA424E}"/>
              </a:ext>
            </a:extLst>
          </p:cNvPr>
          <p:cNvSpPr txBox="1">
            <a:spLocks noChangeArrowheads="1"/>
          </p:cNvSpPr>
          <p:nvPr/>
        </p:nvSpPr>
        <p:spPr bwMode="auto">
          <a:xfrm>
            <a:off x="5821848" y="5615165"/>
            <a:ext cx="1847215" cy="651510"/>
          </a:xfrm>
          <a:prstGeom prst="rect">
            <a:avLst/>
          </a:prstGeom>
          <a:noFill/>
          <a:ln w="9525">
            <a:noFill/>
            <a:miter lim="800000"/>
            <a:headEnd/>
            <a:tailEnd/>
          </a:ln>
        </p:spPr>
        <p:txBody>
          <a:bodyPr rot="0" vert="horz" wrap="square" lIns="91440" tIns="45720" rIns="91440" bIns="45720" anchor="t" anchorCtr="0">
            <a:noAutofit/>
          </a:bodyPr>
          <a:lstStyle/>
          <a:p>
            <a:pPr algn="r">
              <a:lnSpc>
                <a:spcPct val="107000"/>
              </a:lnSpc>
              <a:spcAft>
                <a:spcPts val="800"/>
              </a:spcAft>
            </a:pPr>
            <a:r>
              <a:rPr lang="de-AT" sz="1100" dirty="0" err="1">
                <a:ea typeface="Calibri" panose="020F0502020204030204" pitchFamily="34" charset="0"/>
                <a:cs typeface="Times New Roman" panose="02020603050405020304" pitchFamily="18" charset="0"/>
              </a:rPr>
              <a:t>Garbage</a:t>
            </a:r>
            <a:r>
              <a:rPr lang="de-AT" sz="1100" dirty="0">
                <a:ea typeface="Calibri" panose="020F0502020204030204" pitchFamily="34" charset="0"/>
                <a:cs typeface="Times New Roman" panose="02020603050405020304" pitchFamily="18" charset="0"/>
              </a:rPr>
              <a:t> Can</a:t>
            </a:r>
            <a:endParaRPr lang="de-AT" sz="1100" dirty="0">
              <a:effectLst/>
              <a:latin typeface="Calibri" panose="020F0502020204030204" pitchFamily="34" charset="0"/>
              <a:ea typeface="Calibri" panose="020F0502020204030204" pitchFamily="34" charset="0"/>
              <a:cs typeface="Times New Roman" panose="02020603050405020304" pitchFamily="18" charset="0"/>
            </a:endParaRPr>
          </a:p>
          <a:p>
            <a:pPr algn="r">
              <a:lnSpc>
                <a:spcPct val="107000"/>
              </a:lnSpc>
              <a:spcAft>
                <a:spcPts val="800"/>
              </a:spcAft>
            </a:pPr>
            <a:r>
              <a:rPr lang="de-AT" sz="1100" dirty="0">
                <a:effectLst/>
                <a:latin typeface="Arial" panose="020B0604020202020204" pitchFamily="34" charset="0"/>
                <a:ea typeface="Calibri" panose="020F0502020204030204" pitchFamily="34" charset="0"/>
                <a:cs typeface="Times New Roman" panose="02020603050405020304" pitchFamily="18" charset="0"/>
              </a:rPr>
              <a:t> </a:t>
            </a:r>
            <a:endParaRPr lang="de-AT"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7" name="Text Box 2">
            <a:extLst>
              <a:ext uri="{FF2B5EF4-FFF2-40B4-BE49-F238E27FC236}">
                <a16:creationId xmlns:a16="http://schemas.microsoft.com/office/drawing/2014/main" id="{D5876BDB-4F53-418F-872C-71F71A10A82B}"/>
              </a:ext>
            </a:extLst>
          </p:cNvPr>
          <p:cNvSpPr txBox="1">
            <a:spLocks noChangeArrowheads="1"/>
          </p:cNvSpPr>
          <p:nvPr/>
        </p:nvSpPr>
        <p:spPr bwMode="auto">
          <a:xfrm>
            <a:off x="5940871" y="2988221"/>
            <a:ext cx="1847215" cy="651510"/>
          </a:xfrm>
          <a:prstGeom prst="rect">
            <a:avLst/>
          </a:prstGeom>
          <a:noFill/>
          <a:ln w="9525">
            <a:noFill/>
            <a:miter lim="800000"/>
            <a:headEnd/>
            <a:tailEnd/>
          </a:ln>
        </p:spPr>
        <p:txBody>
          <a:bodyPr rot="0" vert="horz" wrap="square" lIns="91440" tIns="45720" rIns="91440" bIns="45720" anchor="t" anchorCtr="0">
            <a:noAutofit/>
          </a:bodyPr>
          <a:lstStyle/>
          <a:p>
            <a:pPr algn="r">
              <a:lnSpc>
                <a:spcPct val="107000"/>
              </a:lnSpc>
              <a:spcAft>
                <a:spcPts val="800"/>
              </a:spcAft>
            </a:pPr>
            <a:r>
              <a:rPr lang="de-AT" sz="1100" dirty="0" err="1">
                <a:effectLst/>
                <a:latin typeface="Arial" panose="020B0604020202020204" pitchFamily="34" charset="0"/>
                <a:ea typeface="Calibri" panose="020F0502020204030204" pitchFamily="34" charset="0"/>
                <a:cs typeface="Times New Roman" panose="02020603050405020304" pitchFamily="18" charset="0"/>
              </a:rPr>
              <a:t>Protective</a:t>
            </a:r>
            <a:r>
              <a:rPr lang="de-AT" sz="1100" dirty="0">
                <a:effectLst/>
                <a:latin typeface="Arial" panose="020B0604020202020204" pitchFamily="34" charset="0"/>
                <a:ea typeface="Calibri" panose="020F0502020204030204" pitchFamily="34" charset="0"/>
                <a:cs typeface="Times New Roman" panose="02020603050405020304" pitchFamily="18" charset="0"/>
              </a:rPr>
              <a:t> </a:t>
            </a:r>
            <a:r>
              <a:rPr lang="de-AT" sz="1100" dirty="0" err="1">
                <a:effectLst/>
                <a:latin typeface="Arial" panose="020B0604020202020204" pitchFamily="34" charset="0"/>
                <a:ea typeface="Calibri" panose="020F0502020204030204" pitchFamily="34" charset="0"/>
                <a:cs typeface="Times New Roman" panose="02020603050405020304" pitchFamily="18" charset="0"/>
              </a:rPr>
              <a:t>Mask</a:t>
            </a:r>
            <a:r>
              <a:rPr lang="de-AT" sz="1100" dirty="0">
                <a:effectLst/>
                <a:latin typeface="Arial" panose="020B0604020202020204" pitchFamily="34" charset="0"/>
                <a:ea typeface="Calibri" panose="020F0502020204030204" pitchFamily="34" charset="0"/>
                <a:cs typeface="Times New Roman" panose="02020603050405020304" pitchFamily="18" charset="0"/>
              </a:rPr>
              <a:t> Holder (</a:t>
            </a:r>
            <a:r>
              <a:rPr lang="de-AT" sz="1100" dirty="0" err="1">
                <a:effectLst/>
                <a:latin typeface="Arial" panose="020B0604020202020204" pitchFamily="34" charset="0"/>
                <a:ea typeface="Calibri" panose="020F0502020204030204" pitchFamily="34" charset="0"/>
                <a:cs typeface="Times New Roman" panose="02020603050405020304" pitchFamily="18" charset="0"/>
              </a:rPr>
              <a:t>Masks</a:t>
            </a:r>
            <a:r>
              <a:rPr lang="de-AT" sz="1100" dirty="0">
                <a:effectLst/>
                <a:latin typeface="Arial" panose="020B0604020202020204" pitchFamily="34" charset="0"/>
                <a:ea typeface="Calibri" panose="020F0502020204030204" pitchFamily="34" charset="0"/>
                <a:cs typeface="Times New Roman" panose="02020603050405020304" pitchFamily="18" charset="0"/>
              </a:rPr>
              <a:t> not </a:t>
            </a:r>
            <a:r>
              <a:rPr lang="de-AT" sz="1100" dirty="0" err="1">
                <a:effectLst/>
                <a:latin typeface="Arial" panose="020B0604020202020204" pitchFamily="34" charset="0"/>
                <a:ea typeface="Calibri" panose="020F0502020204030204" pitchFamily="34" charset="0"/>
                <a:cs typeface="Times New Roman" panose="02020603050405020304" pitchFamily="18" charset="0"/>
              </a:rPr>
              <a:t>included</a:t>
            </a:r>
            <a:r>
              <a:rPr lang="de-AT" sz="1100" dirty="0">
                <a:effectLst/>
                <a:latin typeface="Arial" panose="020B0604020202020204" pitchFamily="34" charset="0"/>
                <a:ea typeface="Calibri" panose="020F0502020204030204" pitchFamily="34" charset="0"/>
                <a:cs typeface="Times New Roman" panose="02020603050405020304" pitchFamily="18" charset="0"/>
              </a:rPr>
              <a:t>)</a:t>
            </a:r>
            <a:endParaRPr lang="de-AT" sz="1100" dirty="0">
              <a:effectLst/>
              <a:latin typeface="Calibri" panose="020F0502020204030204" pitchFamily="34" charset="0"/>
              <a:ea typeface="Calibri" panose="020F0502020204030204" pitchFamily="34" charset="0"/>
              <a:cs typeface="Times New Roman" panose="02020603050405020304" pitchFamily="18" charset="0"/>
            </a:endParaRPr>
          </a:p>
          <a:p>
            <a:pPr algn="r">
              <a:lnSpc>
                <a:spcPct val="107000"/>
              </a:lnSpc>
              <a:spcAft>
                <a:spcPts val="800"/>
              </a:spcAft>
            </a:pPr>
            <a:r>
              <a:rPr lang="de-AT" sz="1100" dirty="0">
                <a:effectLst/>
                <a:latin typeface="Arial" panose="020B0604020202020204" pitchFamily="34" charset="0"/>
                <a:ea typeface="Calibri" panose="020F0502020204030204" pitchFamily="34" charset="0"/>
                <a:cs typeface="Times New Roman" panose="02020603050405020304" pitchFamily="18" charset="0"/>
              </a:rPr>
              <a:t> </a:t>
            </a:r>
            <a:endParaRPr lang="de-AT"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9" name="Text Box 2">
            <a:extLst>
              <a:ext uri="{FF2B5EF4-FFF2-40B4-BE49-F238E27FC236}">
                <a16:creationId xmlns:a16="http://schemas.microsoft.com/office/drawing/2014/main" id="{FB6A155E-1BA9-4E72-AFFD-B719A0A1CE1C}"/>
              </a:ext>
            </a:extLst>
          </p:cNvPr>
          <p:cNvSpPr txBox="1">
            <a:spLocks noChangeArrowheads="1"/>
          </p:cNvSpPr>
          <p:nvPr/>
        </p:nvSpPr>
        <p:spPr bwMode="auto">
          <a:xfrm>
            <a:off x="9638272" y="4398202"/>
            <a:ext cx="1847215" cy="651510"/>
          </a:xfrm>
          <a:prstGeom prst="rect">
            <a:avLst/>
          </a:prstGeom>
          <a:noFill/>
          <a:ln w="9525">
            <a:noFill/>
            <a:miter lim="800000"/>
            <a:headEnd/>
            <a:tailEnd/>
          </a:ln>
        </p:spPr>
        <p:txBody>
          <a:bodyPr rot="0" vert="horz" wrap="square" lIns="91440" tIns="45720" rIns="91440" bIns="45720" anchor="t" anchorCtr="0">
            <a:noAutofit/>
          </a:bodyPr>
          <a:lstStyle/>
          <a:p>
            <a:pPr algn="r">
              <a:lnSpc>
                <a:spcPct val="107000"/>
              </a:lnSpc>
              <a:spcAft>
                <a:spcPts val="800"/>
              </a:spcAft>
            </a:pPr>
            <a:r>
              <a:rPr lang="de-AT" sz="1100" dirty="0">
                <a:ea typeface="Calibri" panose="020F0502020204030204" pitchFamily="34" charset="0"/>
                <a:cs typeface="Times New Roman" panose="02020603050405020304" pitchFamily="18" charset="0"/>
              </a:rPr>
              <a:t>Frame TALL</a:t>
            </a:r>
            <a:endParaRPr lang="de-AT" sz="1100" dirty="0">
              <a:effectLst/>
              <a:latin typeface="Calibri" panose="020F0502020204030204" pitchFamily="34" charset="0"/>
              <a:ea typeface="Calibri" panose="020F0502020204030204" pitchFamily="34" charset="0"/>
              <a:cs typeface="Times New Roman" panose="02020603050405020304" pitchFamily="18" charset="0"/>
            </a:endParaRPr>
          </a:p>
          <a:p>
            <a:pPr algn="r">
              <a:lnSpc>
                <a:spcPct val="107000"/>
              </a:lnSpc>
              <a:spcAft>
                <a:spcPts val="800"/>
              </a:spcAft>
            </a:pPr>
            <a:r>
              <a:rPr lang="de-AT" sz="1100" dirty="0">
                <a:effectLst/>
                <a:latin typeface="Arial" panose="020B0604020202020204" pitchFamily="34" charset="0"/>
                <a:ea typeface="Calibri" panose="020F0502020204030204" pitchFamily="34" charset="0"/>
                <a:cs typeface="Times New Roman" panose="02020603050405020304" pitchFamily="18" charset="0"/>
              </a:rPr>
              <a:t> </a:t>
            </a:r>
            <a:endParaRPr lang="de-AT"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Rectangle 29">
            <a:extLst>
              <a:ext uri="{FF2B5EF4-FFF2-40B4-BE49-F238E27FC236}">
                <a16:creationId xmlns:a16="http://schemas.microsoft.com/office/drawing/2014/main" id="{A05A7258-0166-4C5A-8A52-12C46AA81068}"/>
              </a:ext>
            </a:extLst>
          </p:cNvPr>
          <p:cNvSpPr/>
          <p:nvPr/>
        </p:nvSpPr>
        <p:spPr>
          <a:xfrm>
            <a:off x="252239" y="5616397"/>
            <a:ext cx="3045391" cy="762871"/>
          </a:xfrm>
          <a:prstGeom prst="rect">
            <a:avLst/>
          </a:prstGeom>
          <a:noFill/>
          <a:ln w="9525">
            <a:noFill/>
            <a:miter lim="800000"/>
            <a:headEnd/>
            <a:tailEnd/>
          </a:ln>
        </p:spPr>
        <p:txBody>
          <a:bodyPr rot="0" vert="horz" wrap="square" lIns="91440" tIns="45720" rIns="91440" bIns="45720" anchor="t" anchorCtr="0">
            <a:noAutofit/>
          </a:bodyPr>
          <a:lstStyle/>
          <a:p>
            <a:pPr algn="r">
              <a:lnSpc>
                <a:spcPct val="107000"/>
              </a:lnSpc>
              <a:spcAft>
                <a:spcPts val="800"/>
              </a:spcAft>
            </a:pPr>
            <a:r>
              <a:rPr lang="de-AT" sz="1100" dirty="0">
                <a:cs typeface="Times New Roman" panose="02020603050405020304" pitchFamily="18" charset="0"/>
              </a:rPr>
              <a:t>Disinfection fluid </a:t>
            </a:r>
            <a:r>
              <a:rPr lang="de-AT" sz="1100" dirty="0" err="1">
                <a:cs typeface="Times New Roman" panose="02020603050405020304" pitchFamily="18" charset="0"/>
              </a:rPr>
              <a:t>distributor</a:t>
            </a:r>
            <a:r>
              <a:rPr lang="de-AT" sz="1100" dirty="0">
                <a:cs typeface="Times New Roman" panose="02020603050405020304" pitchFamily="18" charset="0"/>
              </a:rPr>
              <a:t> SMART incl. Sample Bottle (</a:t>
            </a:r>
            <a:r>
              <a:rPr lang="de-AT" sz="1100" dirty="0" err="1">
                <a:cs typeface="Times New Roman" panose="02020603050405020304" pitchFamily="18" charset="0"/>
              </a:rPr>
              <a:t>Sanitizer</a:t>
            </a:r>
            <a:r>
              <a:rPr lang="de-AT" sz="1100" dirty="0">
                <a:cs typeface="Times New Roman" panose="02020603050405020304" pitchFamily="18" charset="0"/>
              </a:rPr>
              <a:t> liquid not </a:t>
            </a:r>
            <a:r>
              <a:rPr lang="de-AT" sz="1100" dirty="0" err="1">
                <a:cs typeface="Times New Roman" panose="02020603050405020304" pitchFamily="18" charset="0"/>
              </a:rPr>
              <a:t>included</a:t>
            </a:r>
            <a:r>
              <a:rPr lang="de-AT" sz="1100" dirty="0">
                <a:cs typeface="Times New Roman" panose="02020603050405020304" pitchFamily="18" charset="0"/>
              </a:rPr>
              <a:t>) </a:t>
            </a:r>
          </a:p>
          <a:p>
            <a:pPr algn="r">
              <a:lnSpc>
                <a:spcPct val="107000"/>
              </a:lnSpc>
              <a:spcAft>
                <a:spcPts val="800"/>
              </a:spcAft>
            </a:pPr>
            <a:endParaRPr lang="de-AT" sz="1100" dirty="0">
              <a:cs typeface="Times New Roman" panose="02020603050405020304" pitchFamily="18" charset="0"/>
            </a:endParaRPr>
          </a:p>
        </p:txBody>
      </p:sp>
      <p:sp>
        <p:nvSpPr>
          <p:cNvPr id="31" name="Rectangle 30">
            <a:extLst>
              <a:ext uri="{FF2B5EF4-FFF2-40B4-BE49-F238E27FC236}">
                <a16:creationId xmlns:a16="http://schemas.microsoft.com/office/drawing/2014/main" id="{757D6726-815B-42C4-ACD6-C3B50DA43C6F}"/>
              </a:ext>
            </a:extLst>
          </p:cNvPr>
          <p:cNvSpPr/>
          <p:nvPr/>
        </p:nvSpPr>
        <p:spPr>
          <a:xfrm>
            <a:off x="3492599" y="5616397"/>
            <a:ext cx="2880320" cy="651510"/>
          </a:xfrm>
          <a:prstGeom prst="rect">
            <a:avLst/>
          </a:prstGeom>
          <a:noFill/>
          <a:ln w="9525">
            <a:noFill/>
            <a:miter lim="800000"/>
            <a:headEnd/>
            <a:tailEnd/>
          </a:ln>
        </p:spPr>
        <p:txBody>
          <a:bodyPr rot="0" vert="horz" wrap="square" lIns="91440" tIns="45720" rIns="91440" bIns="45720" anchor="t" anchorCtr="0">
            <a:noAutofit/>
          </a:bodyPr>
          <a:lstStyle/>
          <a:p>
            <a:pPr algn="r">
              <a:lnSpc>
                <a:spcPct val="107000"/>
              </a:lnSpc>
              <a:spcAft>
                <a:spcPts val="800"/>
              </a:spcAft>
            </a:pPr>
            <a:r>
              <a:rPr lang="de-AT" sz="1100" dirty="0">
                <a:cs typeface="Times New Roman" panose="02020603050405020304" pitchFamily="18" charset="0"/>
              </a:rPr>
              <a:t>Disinfection fluid </a:t>
            </a:r>
            <a:r>
              <a:rPr lang="de-AT" sz="1100" dirty="0" err="1">
                <a:cs typeface="Times New Roman" panose="02020603050405020304" pitchFamily="18" charset="0"/>
              </a:rPr>
              <a:t>distributor</a:t>
            </a:r>
            <a:r>
              <a:rPr lang="de-AT" sz="1100" dirty="0">
                <a:cs typeface="Times New Roman" panose="02020603050405020304" pitchFamily="18" charset="0"/>
              </a:rPr>
              <a:t> “Z” incl. Sample Bottle (</a:t>
            </a:r>
            <a:r>
              <a:rPr lang="de-AT" sz="1100" dirty="0" err="1">
                <a:cs typeface="Times New Roman" panose="02020603050405020304" pitchFamily="18" charset="0"/>
              </a:rPr>
              <a:t>Sanitizer</a:t>
            </a:r>
            <a:r>
              <a:rPr lang="de-AT" sz="1100" dirty="0">
                <a:cs typeface="Times New Roman" panose="02020603050405020304" pitchFamily="18" charset="0"/>
              </a:rPr>
              <a:t> liquid not </a:t>
            </a:r>
            <a:r>
              <a:rPr lang="de-AT" sz="1100" dirty="0" err="1">
                <a:cs typeface="Times New Roman" panose="02020603050405020304" pitchFamily="18" charset="0"/>
              </a:rPr>
              <a:t>included</a:t>
            </a:r>
            <a:r>
              <a:rPr lang="de-AT" sz="1100" dirty="0">
                <a:cs typeface="Times New Roman" panose="02020603050405020304" pitchFamily="18" charset="0"/>
              </a:rPr>
              <a:t>) </a:t>
            </a:r>
          </a:p>
        </p:txBody>
      </p:sp>
      <p:pic>
        <p:nvPicPr>
          <p:cNvPr id="2" name="Picture 1">
            <a:extLst>
              <a:ext uri="{FF2B5EF4-FFF2-40B4-BE49-F238E27FC236}">
                <a16:creationId xmlns:a16="http://schemas.microsoft.com/office/drawing/2014/main" id="{48D62F98-B917-4627-B458-4F583FDF0771}"/>
              </a:ext>
            </a:extLst>
          </p:cNvPr>
          <p:cNvPicPr>
            <a:picLocks noChangeAspect="1"/>
          </p:cNvPicPr>
          <p:nvPr/>
        </p:nvPicPr>
        <p:blipFill rotWithShape="1">
          <a:blip r:embed="rId3"/>
          <a:srcRect l="3450" r="5683"/>
          <a:stretch/>
        </p:blipFill>
        <p:spPr>
          <a:xfrm flipH="1">
            <a:off x="4202657" y="3843520"/>
            <a:ext cx="1450182" cy="1736989"/>
          </a:xfrm>
          <a:prstGeom prst="rect">
            <a:avLst/>
          </a:prstGeom>
        </p:spPr>
      </p:pic>
      <p:pic>
        <p:nvPicPr>
          <p:cNvPr id="3" name="Picture 2">
            <a:extLst>
              <a:ext uri="{FF2B5EF4-FFF2-40B4-BE49-F238E27FC236}">
                <a16:creationId xmlns:a16="http://schemas.microsoft.com/office/drawing/2014/main" id="{1EA50EDF-B53E-49EE-9207-022CED3B7AB9}"/>
              </a:ext>
            </a:extLst>
          </p:cNvPr>
          <p:cNvPicPr>
            <a:picLocks noChangeAspect="1"/>
          </p:cNvPicPr>
          <p:nvPr/>
        </p:nvPicPr>
        <p:blipFill>
          <a:blip r:embed="rId4"/>
          <a:stretch>
            <a:fillRect/>
          </a:stretch>
        </p:blipFill>
        <p:spPr>
          <a:xfrm>
            <a:off x="1015137" y="3797735"/>
            <a:ext cx="1551380" cy="1901842"/>
          </a:xfrm>
          <a:prstGeom prst="rect">
            <a:avLst/>
          </a:prstGeom>
        </p:spPr>
      </p:pic>
      <p:pic>
        <p:nvPicPr>
          <p:cNvPr id="5" name="Picture 4">
            <a:extLst>
              <a:ext uri="{FF2B5EF4-FFF2-40B4-BE49-F238E27FC236}">
                <a16:creationId xmlns:a16="http://schemas.microsoft.com/office/drawing/2014/main" id="{7CE1FFA3-5596-49B7-A9A6-F71EF697149B}"/>
              </a:ext>
            </a:extLst>
          </p:cNvPr>
          <p:cNvPicPr>
            <a:picLocks noChangeAspect="1"/>
          </p:cNvPicPr>
          <p:nvPr/>
        </p:nvPicPr>
        <p:blipFill>
          <a:blip r:embed="rId5"/>
          <a:stretch>
            <a:fillRect/>
          </a:stretch>
        </p:blipFill>
        <p:spPr>
          <a:xfrm>
            <a:off x="2220766" y="1694969"/>
            <a:ext cx="1559865" cy="1262618"/>
          </a:xfrm>
          <a:prstGeom prst="rect">
            <a:avLst/>
          </a:prstGeom>
        </p:spPr>
      </p:pic>
      <p:pic>
        <p:nvPicPr>
          <p:cNvPr id="6" name="Picture 5">
            <a:extLst>
              <a:ext uri="{FF2B5EF4-FFF2-40B4-BE49-F238E27FC236}">
                <a16:creationId xmlns:a16="http://schemas.microsoft.com/office/drawing/2014/main" id="{E0731432-3409-4300-B2FF-8D507AA38F49}"/>
              </a:ext>
            </a:extLst>
          </p:cNvPr>
          <p:cNvPicPr>
            <a:picLocks noChangeAspect="1"/>
          </p:cNvPicPr>
          <p:nvPr/>
        </p:nvPicPr>
        <p:blipFill>
          <a:blip r:embed="rId6"/>
          <a:stretch>
            <a:fillRect/>
          </a:stretch>
        </p:blipFill>
        <p:spPr>
          <a:xfrm>
            <a:off x="4238979" y="1609338"/>
            <a:ext cx="1413860" cy="1287207"/>
          </a:xfrm>
          <a:prstGeom prst="rect">
            <a:avLst/>
          </a:prstGeom>
        </p:spPr>
      </p:pic>
      <p:pic>
        <p:nvPicPr>
          <p:cNvPr id="7" name="Picture 6">
            <a:extLst>
              <a:ext uri="{FF2B5EF4-FFF2-40B4-BE49-F238E27FC236}">
                <a16:creationId xmlns:a16="http://schemas.microsoft.com/office/drawing/2014/main" id="{5B086521-7577-4D8B-A14C-76DD84517903}"/>
              </a:ext>
            </a:extLst>
          </p:cNvPr>
          <p:cNvPicPr>
            <a:picLocks noChangeAspect="1"/>
          </p:cNvPicPr>
          <p:nvPr/>
        </p:nvPicPr>
        <p:blipFill>
          <a:blip r:embed="rId7"/>
          <a:stretch>
            <a:fillRect/>
          </a:stretch>
        </p:blipFill>
        <p:spPr>
          <a:xfrm>
            <a:off x="6228903" y="1737280"/>
            <a:ext cx="1537484" cy="1264088"/>
          </a:xfrm>
          <a:prstGeom prst="rect">
            <a:avLst/>
          </a:prstGeom>
        </p:spPr>
      </p:pic>
      <p:pic>
        <p:nvPicPr>
          <p:cNvPr id="8" name="Picture 7">
            <a:extLst>
              <a:ext uri="{FF2B5EF4-FFF2-40B4-BE49-F238E27FC236}">
                <a16:creationId xmlns:a16="http://schemas.microsoft.com/office/drawing/2014/main" id="{18DC6A96-DE1E-4F71-B304-EF102E4177D1}"/>
              </a:ext>
            </a:extLst>
          </p:cNvPr>
          <p:cNvPicPr>
            <a:picLocks noChangeAspect="1"/>
          </p:cNvPicPr>
          <p:nvPr/>
        </p:nvPicPr>
        <p:blipFill>
          <a:blip r:embed="rId8"/>
          <a:stretch>
            <a:fillRect/>
          </a:stretch>
        </p:blipFill>
        <p:spPr>
          <a:xfrm>
            <a:off x="6332244" y="3685373"/>
            <a:ext cx="1624851" cy="1990443"/>
          </a:xfrm>
          <a:prstGeom prst="rect">
            <a:avLst/>
          </a:prstGeom>
        </p:spPr>
      </p:pic>
      <p:pic>
        <p:nvPicPr>
          <p:cNvPr id="37" name="Picture 36">
            <a:extLst>
              <a:ext uri="{FF2B5EF4-FFF2-40B4-BE49-F238E27FC236}">
                <a16:creationId xmlns:a16="http://schemas.microsoft.com/office/drawing/2014/main" id="{6F84C60D-0921-4FA3-87FA-4B2F708C915F}"/>
              </a:ext>
            </a:extLst>
          </p:cNvPr>
          <p:cNvPicPr>
            <a:picLocks noChangeAspect="1"/>
          </p:cNvPicPr>
          <p:nvPr/>
        </p:nvPicPr>
        <p:blipFill rotWithShape="1">
          <a:blip r:embed="rId2"/>
          <a:srcRect l="14184" t="48528"/>
          <a:stretch/>
        </p:blipFill>
        <p:spPr>
          <a:xfrm>
            <a:off x="7805673" y="3204245"/>
            <a:ext cx="2037682" cy="2135006"/>
          </a:xfrm>
          <a:prstGeom prst="rect">
            <a:avLst/>
          </a:prstGeom>
        </p:spPr>
      </p:pic>
      <p:sp>
        <p:nvSpPr>
          <p:cNvPr id="38" name="Text Box 2">
            <a:extLst>
              <a:ext uri="{FF2B5EF4-FFF2-40B4-BE49-F238E27FC236}">
                <a16:creationId xmlns:a16="http://schemas.microsoft.com/office/drawing/2014/main" id="{337DA37D-A85F-4A40-AA9C-8CEC07812C56}"/>
              </a:ext>
            </a:extLst>
          </p:cNvPr>
          <p:cNvSpPr txBox="1">
            <a:spLocks noChangeArrowheads="1"/>
          </p:cNvSpPr>
          <p:nvPr/>
        </p:nvSpPr>
        <p:spPr bwMode="auto">
          <a:xfrm>
            <a:off x="8100937" y="4398202"/>
            <a:ext cx="1847215" cy="651510"/>
          </a:xfrm>
          <a:prstGeom prst="rect">
            <a:avLst/>
          </a:prstGeom>
          <a:noFill/>
          <a:ln w="9525">
            <a:noFill/>
            <a:miter lim="800000"/>
            <a:headEnd/>
            <a:tailEnd/>
          </a:ln>
        </p:spPr>
        <p:txBody>
          <a:bodyPr rot="0" vert="horz" wrap="square" lIns="91440" tIns="45720" rIns="91440" bIns="45720" anchor="t" anchorCtr="0">
            <a:noAutofit/>
          </a:bodyPr>
          <a:lstStyle/>
          <a:p>
            <a:pPr algn="r">
              <a:lnSpc>
                <a:spcPct val="107000"/>
              </a:lnSpc>
              <a:spcAft>
                <a:spcPts val="800"/>
              </a:spcAft>
            </a:pPr>
            <a:r>
              <a:rPr lang="de-AT" sz="1100" dirty="0">
                <a:ea typeface="Calibri" panose="020F0502020204030204" pitchFamily="34" charset="0"/>
                <a:cs typeface="Times New Roman" panose="02020603050405020304" pitchFamily="18" charset="0"/>
              </a:rPr>
              <a:t>Frame SHORT</a:t>
            </a:r>
            <a:endParaRPr lang="de-AT" sz="1100" dirty="0">
              <a:effectLst/>
              <a:latin typeface="Calibri" panose="020F0502020204030204" pitchFamily="34" charset="0"/>
              <a:ea typeface="Calibri" panose="020F0502020204030204" pitchFamily="34" charset="0"/>
              <a:cs typeface="Times New Roman" panose="02020603050405020304" pitchFamily="18" charset="0"/>
            </a:endParaRPr>
          </a:p>
          <a:p>
            <a:pPr algn="r">
              <a:lnSpc>
                <a:spcPct val="107000"/>
              </a:lnSpc>
              <a:spcAft>
                <a:spcPts val="800"/>
              </a:spcAft>
            </a:pPr>
            <a:r>
              <a:rPr lang="de-AT" sz="1100" dirty="0">
                <a:effectLst/>
                <a:latin typeface="Arial" panose="020B0604020202020204" pitchFamily="34" charset="0"/>
                <a:ea typeface="Calibri" panose="020F0502020204030204" pitchFamily="34" charset="0"/>
                <a:cs typeface="Times New Roman" panose="02020603050405020304" pitchFamily="18" charset="0"/>
              </a:rPr>
              <a:t> </a:t>
            </a:r>
            <a:endParaRPr lang="de-AT" sz="11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12" name="Group 11">
            <a:extLst>
              <a:ext uri="{FF2B5EF4-FFF2-40B4-BE49-F238E27FC236}">
                <a16:creationId xmlns:a16="http://schemas.microsoft.com/office/drawing/2014/main" id="{68D0C16E-DF80-4BA1-AC75-F18473AD9928}"/>
              </a:ext>
            </a:extLst>
          </p:cNvPr>
          <p:cNvGrpSpPr/>
          <p:nvPr/>
        </p:nvGrpSpPr>
        <p:grpSpPr>
          <a:xfrm>
            <a:off x="684287" y="1436521"/>
            <a:ext cx="1078131" cy="1616790"/>
            <a:chOff x="684287" y="1461688"/>
            <a:chExt cx="1078131" cy="1616790"/>
          </a:xfrm>
        </p:grpSpPr>
        <p:pic>
          <p:nvPicPr>
            <p:cNvPr id="9" name="Picture 8">
              <a:extLst>
                <a:ext uri="{FF2B5EF4-FFF2-40B4-BE49-F238E27FC236}">
                  <a16:creationId xmlns:a16="http://schemas.microsoft.com/office/drawing/2014/main" id="{52A34A33-C0E5-46AA-92A9-5AF4A39A4A97}"/>
                </a:ext>
              </a:extLst>
            </p:cNvPr>
            <p:cNvPicPr>
              <a:picLocks noChangeAspect="1"/>
            </p:cNvPicPr>
            <p:nvPr/>
          </p:nvPicPr>
          <p:blipFill>
            <a:blip r:embed="rId9"/>
            <a:stretch>
              <a:fillRect/>
            </a:stretch>
          </p:blipFill>
          <p:spPr>
            <a:xfrm>
              <a:off x="684287" y="1461688"/>
              <a:ext cx="1078131" cy="1616790"/>
            </a:xfrm>
            <a:prstGeom prst="rect">
              <a:avLst/>
            </a:prstGeom>
          </p:spPr>
        </p:pic>
        <p:sp>
          <p:nvSpPr>
            <p:cNvPr id="11" name="Rectangle 10">
              <a:extLst>
                <a:ext uri="{FF2B5EF4-FFF2-40B4-BE49-F238E27FC236}">
                  <a16:creationId xmlns:a16="http://schemas.microsoft.com/office/drawing/2014/main" id="{A4B62F02-301B-49C4-AC9D-27CF84744D4F}"/>
                </a:ext>
              </a:extLst>
            </p:cNvPr>
            <p:cNvSpPr/>
            <p:nvPr/>
          </p:nvSpPr>
          <p:spPr>
            <a:xfrm rot="330633">
              <a:off x="1017620" y="2597171"/>
              <a:ext cx="535722" cy="77476"/>
            </a:xfrm>
            <a:prstGeom prst="rect">
              <a:avLst/>
            </a:prstGeom>
            <a:solidFill>
              <a:srgbClr val="0294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grpSp>
    </p:spTree>
    <p:extLst>
      <p:ext uri="{BB962C8B-B14F-4D97-AF65-F5344CB8AC3E}">
        <p14:creationId xmlns:p14="http://schemas.microsoft.com/office/powerpoint/2010/main" val="4752294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8232A2E7-4445-40D0-ACC0-AF59B9EE127A}"/>
              </a:ext>
            </a:extLst>
          </p:cNvPr>
          <p:cNvSpPr>
            <a:spLocks noGrp="1"/>
          </p:cNvSpPr>
          <p:nvPr>
            <p:ph type="title"/>
          </p:nvPr>
        </p:nvSpPr>
        <p:spPr>
          <a:xfrm>
            <a:off x="9973319" y="408236"/>
            <a:ext cx="1728192" cy="1139825"/>
          </a:xfrm>
        </p:spPr>
        <p:txBody>
          <a:bodyPr/>
          <a:lstStyle/>
          <a:p>
            <a:r>
              <a:rPr lang="de-AT" sz="2800" dirty="0" err="1"/>
              <a:t>Example</a:t>
            </a:r>
            <a:r>
              <a:rPr lang="de-AT" sz="2800" dirty="0"/>
              <a:t> 1</a:t>
            </a:r>
          </a:p>
        </p:txBody>
      </p:sp>
      <p:sp>
        <p:nvSpPr>
          <p:cNvPr id="11" name="Text Placeholder 10">
            <a:extLst>
              <a:ext uri="{FF2B5EF4-FFF2-40B4-BE49-F238E27FC236}">
                <a16:creationId xmlns:a16="http://schemas.microsoft.com/office/drawing/2014/main" id="{8C36776E-F289-4632-A767-1C427547BD8F}"/>
              </a:ext>
            </a:extLst>
          </p:cNvPr>
          <p:cNvSpPr>
            <a:spLocks noGrp="1"/>
          </p:cNvSpPr>
          <p:nvPr>
            <p:ph type="body" sz="quarter" idx="11"/>
          </p:nvPr>
        </p:nvSpPr>
        <p:spPr>
          <a:xfrm>
            <a:off x="9969593" y="899989"/>
            <a:ext cx="1803926" cy="3959671"/>
          </a:xfrm>
        </p:spPr>
        <p:txBody>
          <a:bodyPr/>
          <a:lstStyle/>
          <a:p>
            <a:r>
              <a:rPr lang="de-AT" sz="1400" dirty="0" err="1"/>
              <a:t>Hygienic</a:t>
            </a:r>
            <a:r>
              <a:rPr lang="de-AT" sz="1400" dirty="0"/>
              <a:t> Stand TALL </a:t>
            </a:r>
            <a:r>
              <a:rPr lang="de-AT" sz="1400" dirty="0" err="1"/>
              <a:t>version</a:t>
            </a:r>
            <a:r>
              <a:rPr lang="de-AT" sz="1400" dirty="0"/>
              <a:t> </a:t>
            </a:r>
            <a:r>
              <a:rPr lang="de-AT" sz="1400" dirty="0" err="1"/>
              <a:t>with</a:t>
            </a:r>
            <a:r>
              <a:rPr lang="de-AT" sz="1400" dirty="0"/>
              <a:t> </a:t>
            </a:r>
            <a:r>
              <a:rPr lang="de-AT" sz="1400" dirty="0" err="1"/>
              <a:t>paper</a:t>
            </a:r>
            <a:r>
              <a:rPr lang="de-AT" sz="1400" dirty="0"/>
              <a:t> </a:t>
            </a:r>
            <a:r>
              <a:rPr lang="de-AT" sz="1400" dirty="0" err="1"/>
              <a:t>towel</a:t>
            </a:r>
            <a:r>
              <a:rPr lang="de-AT" sz="1400" dirty="0"/>
              <a:t> holder, </a:t>
            </a:r>
            <a:r>
              <a:rPr lang="de-AT" sz="1400" dirty="0" err="1"/>
              <a:t>sanitizer</a:t>
            </a:r>
            <a:r>
              <a:rPr lang="de-AT" sz="1400" dirty="0"/>
              <a:t> holder, tissue holder, </a:t>
            </a:r>
            <a:r>
              <a:rPr lang="de-AT" sz="1400" dirty="0" err="1"/>
              <a:t>disposable</a:t>
            </a:r>
            <a:r>
              <a:rPr lang="de-AT" sz="1400" dirty="0"/>
              <a:t> </a:t>
            </a:r>
            <a:r>
              <a:rPr lang="de-AT" sz="1400" dirty="0" err="1"/>
              <a:t>gloves</a:t>
            </a:r>
            <a:r>
              <a:rPr lang="de-AT" sz="1400" dirty="0"/>
              <a:t> holder, </a:t>
            </a:r>
            <a:r>
              <a:rPr lang="de-AT" sz="1400" dirty="0" err="1"/>
              <a:t>mask</a:t>
            </a:r>
            <a:r>
              <a:rPr lang="de-AT" sz="1400" dirty="0"/>
              <a:t> </a:t>
            </a:r>
            <a:r>
              <a:rPr lang="de-AT" sz="1400" dirty="0" err="1"/>
              <a:t>dispenser</a:t>
            </a:r>
            <a:r>
              <a:rPr lang="de-AT" sz="1400" dirty="0"/>
              <a:t> and </a:t>
            </a:r>
            <a:r>
              <a:rPr lang="de-AT" sz="1400" dirty="0" err="1"/>
              <a:t>waste</a:t>
            </a:r>
            <a:r>
              <a:rPr lang="de-AT" sz="1400" dirty="0"/>
              <a:t> bin  </a:t>
            </a:r>
          </a:p>
        </p:txBody>
      </p:sp>
      <p:sp>
        <p:nvSpPr>
          <p:cNvPr id="9" name="Footer Placeholder 8">
            <a:extLst>
              <a:ext uri="{FF2B5EF4-FFF2-40B4-BE49-F238E27FC236}">
                <a16:creationId xmlns:a16="http://schemas.microsoft.com/office/drawing/2014/main" id="{7D5BE47E-A0E1-44F1-9133-2BEA0398768F}"/>
              </a:ext>
            </a:extLst>
          </p:cNvPr>
          <p:cNvSpPr>
            <a:spLocks noGrp="1"/>
          </p:cNvSpPr>
          <p:nvPr>
            <p:ph type="ftr" sz="quarter" idx="3"/>
          </p:nvPr>
        </p:nvSpPr>
        <p:spPr/>
        <p:txBody>
          <a:bodyPr/>
          <a:lstStyle/>
          <a:p>
            <a:r>
              <a:rPr lang="en-US"/>
              <a:t>© HL Display 2017 – All rights reserved</a:t>
            </a:r>
            <a:endParaRPr lang="fr-FR" dirty="0"/>
          </a:p>
        </p:txBody>
      </p:sp>
      <p:pic>
        <p:nvPicPr>
          <p:cNvPr id="2" name="Picture 1">
            <a:extLst>
              <a:ext uri="{FF2B5EF4-FFF2-40B4-BE49-F238E27FC236}">
                <a16:creationId xmlns:a16="http://schemas.microsoft.com/office/drawing/2014/main" id="{089864B0-9454-49FC-9991-FEEC1468CFCF}"/>
              </a:ext>
            </a:extLst>
          </p:cNvPr>
          <p:cNvPicPr>
            <a:picLocks noChangeAspect="1"/>
          </p:cNvPicPr>
          <p:nvPr/>
        </p:nvPicPr>
        <p:blipFill>
          <a:blip r:embed="rId2"/>
          <a:stretch>
            <a:fillRect/>
          </a:stretch>
        </p:blipFill>
        <p:spPr>
          <a:xfrm>
            <a:off x="0" y="0"/>
            <a:ext cx="9749443" cy="6840538"/>
          </a:xfrm>
          <a:prstGeom prst="rect">
            <a:avLst/>
          </a:prstGeom>
        </p:spPr>
      </p:pic>
    </p:spTree>
    <p:extLst>
      <p:ext uri="{BB962C8B-B14F-4D97-AF65-F5344CB8AC3E}">
        <p14:creationId xmlns:p14="http://schemas.microsoft.com/office/powerpoint/2010/main" val="7934726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9">
            <a:extLst>
              <a:ext uri="{FF2B5EF4-FFF2-40B4-BE49-F238E27FC236}">
                <a16:creationId xmlns:a16="http://schemas.microsoft.com/office/drawing/2014/main" id="{01AEDF92-E83B-4A4E-AA02-1843599D92AA}"/>
              </a:ext>
            </a:extLst>
          </p:cNvPr>
          <p:cNvSpPr>
            <a:spLocks noGrp="1"/>
          </p:cNvSpPr>
          <p:nvPr>
            <p:ph type="title"/>
          </p:nvPr>
        </p:nvSpPr>
        <p:spPr>
          <a:xfrm>
            <a:off x="6948983" y="2352452"/>
            <a:ext cx="4320680" cy="1139825"/>
          </a:xfrm>
        </p:spPr>
        <p:txBody>
          <a:bodyPr/>
          <a:lstStyle/>
          <a:p>
            <a:r>
              <a:rPr lang="de-AT" dirty="0" err="1"/>
              <a:t>Hygienic</a:t>
            </a:r>
            <a:r>
              <a:rPr lang="de-AT" dirty="0"/>
              <a:t> Stand TALL </a:t>
            </a:r>
            <a:r>
              <a:rPr lang="de-AT" dirty="0" err="1"/>
              <a:t>version</a:t>
            </a:r>
            <a:endParaRPr lang="de-AT" dirty="0"/>
          </a:p>
        </p:txBody>
      </p:sp>
      <p:pic>
        <p:nvPicPr>
          <p:cNvPr id="28" name="Picture 27" descr="A picture containing red, white, light, traffic&#10;&#10;Description automatically generated">
            <a:extLst>
              <a:ext uri="{FF2B5EF4-FFF2-40B4-BE49-F238E27FC236}">
                <a16:creationId xmlns:a16="http://schemas.microsoft.com/office/drawing/2014/main" id="{6392714F-A0FB-417C-9EC2-53245AECC16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76901" y="-89390"/>
            <a:ext cx="8036392" cy="6966043"/>
          </a:xfrm>
          <a:prstGeom prst="rect">
            <a:avLst/>
          </a:prstGeom>
        </p:spPr>
      </p:pic>
      <p:sp>
        <p:nvSpPr>
          <p:cNvPr id="29" name="Isosceles Triangle 28">
            <a:extLst>
              <a:ext uri="{FF2B5EF4-FFF2-40B4-BE49-F238E27FC236}">
                <a16:creationId xmlns:a16="http://schemas.microsoft.com/office/drawing/2014/main" id="{222CDA01-E020-4BC0-872F-E400AA7107CE}"/>
              </a:ext>
            </a:extLst>
          </p:cNvPr>
          <p:cNvSpPr/>
          <p:nvPr/>
        </p:nvSpPr>
        <p:spPr>
          <a:xfrm>
            <a:off x="4294623" y="0"/>
            <a:ext cx="2170942" cy="6851424"/>
          </a:xfrm>
          <a:prstGeom prst="triangle">
            <a:avLst>
              <a:gd name="adj" fmla="val 10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42403740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picture containing red, white, sign, traffic&#10;&#10;Description automatically generated">
            <a:extLst>
              <a:ext uri="{FF2B5EF4-FFF2-40B4-BE49-F238E27FC236}">
                <a16:creationId xmlns:a16="http://schemas.microsoft.com/office/drawing/2014/main" id="{41BB5ACC-1656-4BE1-B850-D4F33D0E739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98017" y="0"/>
            <a:ext cx="8356829" cy="6840538"/>
          </a:xfrm>
          <a:prstGeom prst="rect">
            <a:avLst/>
          </a:prstGeom>
        </p:spPr>
      </p:pic>
      <p:sp>
        <p:nvSpPr>
          <p:cNvPr id="6" name="Title 9">
            <a:extLst>
              <a:ext uri="{FF2B5EF4-FFF2-40B4-BE49-F238E27FC236}">
                <a16:creationId xmlns:a16="http://schemas.microsoft.com/office/drawing/2014/main" id="{01AEDF92-E83B-4A4E-AA02-1843599D92AA}"/>
              </a:ext>
            </a:extLst>
          </p:cNvPr>
          <p:cNvSpPr>
            <a:spLocks noGrp="1"/>
          </p:cNvSpPr>
          <p:nvPr>
            <p:ph type="title"/>
          </p:nvPr>
        </p:nvSpPr>
        <p:spPr>
          <a:xfrm>
            <a:off x="6948983" y="2352452"/>
            <a:ext cx="4320680" cy="1139825"/>
          </a:xfrm>
        </p:spPr>
        <p:txBody>
          <a:bodyPr/>
          <a:lstStyle/>
          <a:p>
            <a:r>
              <a:rPr lang="de-AT" dirty="0" err="1"/>
              <a:t>Hygienic</a:t>
            </a:r>
            <a:r>
              <a:rPr lang="de-AT" dirty="0"/>
              <a:t> Stand TALL </a:t>
            </a:r>
            <a:r>
              <a:rPr lang="de-AT" dirty="0" err="1"/>
              <a:t>version</a:t>
            </a:r>
            <a:endParaRPr lang="de-AT" dirty="0"/>
          </a:p>
        </p:txBody>
      </p:sp>
      <p:sp>
        <p:nvSpPr>
          <p:cNvPr id="29" name="Isosceles Triangle 28">
            <a:extLst>
              <a:ext uri="{FF2B5EF4-FFF2-40B4-BE49-F238E27FC236}">
                <a16:creationId xmlns:a16="http://schemas.microsoft.com/office/drawing/2014/main" id="{222CDA01-E020-4BC0-872F-E400AA7107CE}"/>
              </a:ext>
            </a:extLst>
          </p:cNvPr>
          <p:cNvSpPr/>
          <p:nvPr/>
        </p:nvSpPr>
        <p:spPr>
          <a:xfrm>
            <a:off x="4294623" y="0"/>
            <a:ext cx="2170942" cy="6851424"/>
          </a:xfrm>
          <a:prstGeom prst="triangle">
            <a:avLst>
              <a:gd name="adj" fmla="val 10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933654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red, sitting, table, white&#10;&#10;Description automatically generated">
            <a:extLst>
              <a:ext uri="{FF2B5EF4-FFF2-40B4-BE49-F238E27FC236}">
                <a16:creationId xmlns:a16="http://schemas.microsoft.com/office/drawing/2014/main" id="{19BE7255-DE16-4AF1-A30A-8AFC2AB3F899}"/>
              </a:ext>
            </a:extLst>
          </p:cNvPr>
          <p:cNvPicPr>
            <a:picLocks noChangeAspect="1"/>
          </p:cNvPicPr>
          <p:nvPr/>
        </p:nvPicPr>
        <p:blipFill rotWithShape="1">
          <a:blip r:embed="rId2">
            <a:extLst>
              <a:ext uri="{28A0092B-C50C-407E-A947-70E740481C1C}">
                <a14:useLocalDpi xmlns:a14="http://schemas.microsoft.com/office/drawing/2010/main" val="0"/>
              </a:ext>
            </a:extLst>
          </a:blip>
          <a:srcRect l="-1" r="5311"/>
          <a:stretch/>
        </p:blipFill>
        <p:spPr>
          <a:xfrm>
            <a:off x="-1099395" y="0"/>
            <a:ext cx="7184282" cy="6840538"/>
          </a:xfrm>
          <a:prstGeom prst="rect">
            <a:avLst/>
          </a:prstGeom>
        </p:spPr>
      </p:pic>
      <p:sp>
        <p:nvSpPr>
          <p:cNvPr id="6" name="Title 9">
            <a:extLst>
              <a:ext uri="{FF2B5EF4-FFF2-40B4-BE49-F238E27FC236}">
                <a16:creationId xmlns:a16="http://schemas.microsoft.com/office/drawing/2014/main" id="{01AEDF92-E83B-4A4E-AA02-1843599D92AA}"/>
              </a:ext>
            </a:extLst>
          </p:cNvPr>
          <p:cNvSpPr>
            <a:spLocks noGrp="1"/>
          </p:cNvSpPr>
          <p:nvPr>
            <p:ph type="title"/>
          </p:nvPr>
        </p:nvSpPr>
        <p:spPr>
          <a:xfrm>
            <a:off x="6948983" y="2352452"/>
            <a:ext cx="4320680" cy="1139825"/>
          </a:xfrm>
        </p:spPr>
        <p:txBody>
          <a:bodyPr/>
          <a:lstStyle/>
          <a:p>
            <a:r>
              <a:rPr lang="de-AT" dirty="0" err="1"/>
              <a:t>Hygienic</a:t>
            </a:r>
            <a:r>
              <a:rPr lang="de-AT" dirty="0"/>
              <a:t> Stand TALL </a:t>
            </a:r>
            <a:r>
              <a:rPr lang="de-AT" dirty="0" err="1"/>
              <a:t>version</a:t>
            </a:r>
            <a:endParaRPr lang="de-AT" dirty="0"/>
          </a:p>
        </p:txBody>
      </p:sp>
      <p:sp>
        <p:nvSpPr>
          <p:cNvPr id="29" name="Isosceles Triangle 28">
            <a:extLst>
              <a:ext uri="{FF2B5EF4-FFF2-40B4-BE49-F238E27FC236}">
                <a16:creationId xmlns:a16="http://schemas.microsoft.com/office/drawing/2014/main" id="{222CDA01-E020-4BC0-872F-E400AA7107CE}"/>
              </a:ext>
            </a:extLst>
          </p:cNvPr>
          <p:cNvSpPr/>
          <p:nvPr/>
        </p:nvSpPr>
        <p:spPr>
          <a:xfrm>
            <a:off x="3930463" y="0"/>
            <a:ext cx="2170942" cy="6851424"/>
          </a:xfrm>
          <a:prstGeom prst="triangle">
            <a:avLst>
              <a:gd name="adj" fmla="val 10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40971562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appliance, white, red, small&#10;&#10;Description automatically generated">
            <a:extLst>
              <a:ext uri="{FF2B5EF4-FFF2-40B4-BE49-F238E27FC236}">
                <a16:creationId xmlns:a16="http://schemas.microsoft.com/office/drawing/2014/main" id="{6DAA725C-D3C3-477A-8E85-5D9C7056C2CF}"/>
              </a:ext>
            </a:extLst>
          </p:cNvPr>
          <p:cNvPicPr>
            <a:picLocks noChangeAspect="1"/>
          </p:cNvPicPr>
          <p:nvPr/>
        </p:nvPicPr>
        <p:blipFill rotWithShape="1">
          <a:blip r:embed="rId2">
            <a:extLst>
              <a:ext uri="{28A0092B-C50C-407E-A947-70E740481C1C}">
                <a14:useLocalDpi xmlns:a14="http://schemas.microsoft.com/office/drawing/2010/main" val="0"/>
              </a:ext>
            </a:extLst>
          </a:blip>
          <a:srcRect r="14650"/>
          <a:stretch/>
        </p:blipFill>
        <p:spPr>
          <a:xfrm>
            <a:off x="-1259929" y="-30969"/>
            <a:ext cx="7361334" cy="6882393"/>
          </a:xfrm>
          <a:prstGeom prst="rect">
            <a:avLst/>
          </a:prstGeom>
        </p:spPr>
      </p:pic>
      <p:sp>
        <p:nvSpPr>
          <p:cNvPr id="6" name="Title 9">
            <a:extLst>
              <a:ext uri="{FF2B5EF4-FFF2-40B4-BE49-F238E27FC236}">
                <a16:creationId xmlns:a16="http://schemas.microsoft.com/office/drawing/2014/main" id="{01AEDF92-E83B-4A4E-AA02-1843599D92AA}"/>
              </a:ext>
            </a:extLst>
          </p:cNvPr>
          <p:cNvSpPr>
            <a:spLocks noGrp="1"/>
          </p:cNvSpPr>
          <p:nvPr>
            <p:ph type="title"/>
          </p:nvPr>
        </p:nvSpPr>
        <p:spPr>
          <a:xfrm>
            <a:off x="6948983" y="2352452"/>
            <a:ext cx="4320680" cy="1139825"/>
          </a:xfrm>
        </p:spPr>
        <p:txBody>
          <a:bodyPr/>
          <a:lstStyle/>
          <a:p>
            <a:r>
              <a:rPr lang="de-AT" dirty="0" err="1"/>
              <a:t>Hygienic</a:t>
            </a:r>
            <a:r>
              <a:rPr lang="de-AT" dirty="0"/>
              <a:t> Stand TALL </a:t>
            </a:r>
            <a:r>
              <a:rPr lang="de-AT" dirty="0" err="1"/>
              <a:t>version</a:t>
            </a:r>
            <a:endParaRPr lang="de-AT" dirty="0"/>
          </a:p>
        </p:txBody>
      </p:sp>
      <p:sp>
        <p:nvSpPr>
          <p:cNvPr id="29" name="Isosceles Triangle 28">
            <a:extLst>
              <a:ext uri="{FF2B5EF4-FFF2-40B4-BE49-F238E27FC236}">
                <a16:creationId xmlns:a16="http://schemas.microsoft.com/office/drawing/2014/main" id="{222CDA01-E020-4BC0-872F-E400AA7107CE}"/>
              </a:ext>
            </a:extLst>
          </p:cNvPr>
          <p:cNvSpPr/>
          <p:nvPr/>
        </p:nvSpPr>
        <p:spPr>
          <a:xfrm>
            <a:off x="3930463" y="0"/>
            <a:ext cx="2170942" cy="6851424"/>
          </a:xfrm>
          <a:prstGeom prst="triangle">
            <a:avLst>
              <a:gd name="adj" fmla="val 10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8486482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red, white&#10;&#10;Description automatically generated">
            <a:extLst>
              <a:ext uri="{FF2B5EF4-FFF2-40B4-BE49-F238E27FC236}">
                <a16:creationId xmlns:a16="http://schemas.microsoft.com/office/drawing/2014/main" id="{7E98FC29-AE80-4998-B9C3-8EEEB4F15A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7682" y="-6609"/>
            <a:ext cx="7301001" cy="6873071"/>
          </a:xfrm>
          <a:prstGeom prst="rect">
            <a:avLst/>
          </a:prstGeom>
        </p:spPr>
      </p:pic>
      <p:sp>
        <p:nvSpPr>
          <p:cNvPr id="6" name="Title 9">
            <a:extLst>
              <a:ext uri="{FF2B5EF4-FFF2-40B4-BE49-F238E27FC236}">
                <a16:creationId xmlns:a16="http://schemas.microsoft.com/office/drawing/2014/main" id="{01AEDF92-E83B-4A4E-AA02-1843599D92AA}"/>
              </a:ext>
            </a:extLst>
          </p:cNvPr>
          <p:cNvSpPr>
            <a:spLocks noGrp="1"/>
          </p:cNvSpPr>
          <p:nvPr>
            <p:ph type="title"/>
          </p:nvPr>
        </p:nvSpPr>
        <p:spPr>
          <a:xfrm>
            <a:off x="6948983" y="2352452"/>
            <a:ext cx="4320680" cy="1139825"/>
          </a:xfrm>
        </p:spPr>
        <p:txBody>
          <a:bodyPr/>
          <a:lstStyle/>
          <a:p>
            <a:r>
              <a:rPr lang="de-AT" dirty="0" err="1"/>
              <a:t>Hygienic</a:t>
            </a:r>
            <a:r>
              <a:rPr lang="de-AT" dirty="0"/>
              <a:t> Stand TALL </a:t>
            </a:r>
            <a:r>
              <a:rPr lang="de-AT" dirty="0" err="1"/>
              <a:t>version</a:t>
            </a:r>
            <a:endParaRPr lang="de-AT" dirty="0"/>
          </a:p>
        </p:txBody>
      </p:sp>
      <p:sp>
        <p:nvSpPr>
          <p:cNvPr id="29" name="Isosceles Triangle 28">
            <a:extLst>
              <a:ext uri="{FF2B5EF4-FFF2-40B4-BE49-F238E27FC236}">
                <a16:creationId xmlns:a16="http://schemas.microsoft.com/office/drawing/2014/main" id="{222CDA01-E020-4BC0-872F-E400AA7107CE}"/>
              </a:ext>
            </a:extLst>
          </p:cNvPr>
          <p:cNvSpPr/>
          <p:nvPr/>
        </p:nvSpPr>
        <p:spPr>
          <a:xfrm>
            <a:off x="3930463" y="0"/>
            <a:ext cx="2170942" cy="6851424"/>
          </a:xfrm>
          <a:prstGeom prst="triangle">
            <a:avLst>
              <a:gd name="adj" fmla="val 10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Tree>
    <p:extLst>
      <p:ext uri="{BB962C8B-B14F-4D97-AF65-F5344CB8AC3E}">
        <p14:creationId xmlns:p14="http://schemas.microsoft.com/office/powerpoint/2010/main" val="17627880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gY75XQfvQ9KAIr9Sh8O.1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Y75XQfvQ9KAIr9Sh8O.1g"/>
</p:tagLst>
</file>

<file path=ppt/theme/theme1.xml><?xml version="1.0" encoding="utf-8"?>
<a:theme xmlns:a="http://schemas.openxmlformats.org/drawingml/2006/main" name="Cover with white logo and 5th element">
  <a:themeElements>
    <a:clrScheme name="HL DISPLAY NEW GRAPHIC PROFILE">
      <a:dk1>
        <a:srgbClr val="3C3C3C"/>
      </a:dk1>
      <a:lt1>
        <a:srgbClr val="D7CDC8"/>
      </a:lt1>
      <a:dk2>
        <a:srgbClr val="0091D2"/>
      </a:dk2>
      <a:lt2>
        <a:srgbClr val="FFFFFF"/>
      </a:lt2>
      <a:accent1>
        <a:srgbClr val="FF4B00"/>
      </a:accent1>
      <a:accent2>
        <a:srgbClr val="E1E100"/>
      </a:accent2>
      <a:accent3>
        <a:srgbClr val="00AFB9"/>
      </a:accent3>
      <a:accent4>
        <a:srgbClr val="F06EB9"/>
      </a:accent4>
      <a:accent5>
        <a:srgbClr val="968C82"/>
      </a:accent5>
      <a:accent6>
        <a:srgbClr val="5FC5ED"/>
      </a:accent6>
      <a:hlink>
        <a:srgbClr val="0091D2"/>
      </a:hlink>
      <a:folHlink>
        <a:srgbClr val="D7006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emo-new-template-footer.pptx" id="{89392CCC-1780-443E-ABF5-988C42BEB418}" vid="{2DD8EA9F-404C-4E08-9660-E5ACE5A4FDBB}"/>
    </a:ext>
  </a:extLst>
</a:theme>
</file>

<file path=ppt/theme/theme10.xml><?xml version="1.0" encoding="utf-8"?>
<a:theme xmlns:a="http://schemas.openxmlformats.org/drawingml/2006/main" name="2_Interior pages">
  <a:themeElements>
    <a:clrScheme name="HL Display colour aug 2019">
      <a:dk1>
        <a:srgbClr val="3C3C3C"/>
      </a:dk1>
      <a:lt1>
        <a:srgbClr val="D7CDC8"/>
      </a:lt1>
      <a:dk2>
        <a:srgbClr val="0091D2"/>
      </a:dk2>
      <a:lt2>
        <a:srgbClr val="FFFFFF"/>
      </a:lt2>
      <a:accent1>
        <a:srgbClr val="FF4B00"/>
      </a:accent1>
      <a:accent2>
        <a:srgbClr val="E1E100"/>
      </a:accent2>
      <a:accent3>
        <a:srgbClr val="00AFB9"/>
      </a:accent3>
      <a:accent4>
        <a:srgbClr val="F06EB9"/>
      </a:accent4>
      <a:accent5>
        <a:srgbClr val="968C82"/>
      </a:accent5>
      <a:accent6>
        <a:srgbClr val="FEC00F"/>
      </a:accent6>
      <a:hlink>
        <a:srgbClr val="5FC5ED"/>
      </a:hlink>
      <a:folHlink>
        <a:srgbClr val="D7CDC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HL PPT general template 2019.pptx" id="{3C3E48EC-9F35-4316-B55B-CAAC23B0C549}" vid="{66AAE618-DEAF-43DD-BD4C-9DD0A72046FD}"/>
    </a:ext>
  </a:extLst>
</a:theme>
</file>

<file path=ppt/theme/theme11.xml><?xml version="1.0" encoding="utf-8"?>
<a:theme xmlns:a="http://schemas.openxmlformats.org/drawingml/2006/main" name="4_Cover with white logo and 5th element">
  <a:themeElements>
    <a:clrScheme name="HL DISPLAY NEW GRAPHIC PROFILE">
      <a:dk1>
        <a:srgbClr val="3C3C3C"/>
      </a:dk1>
      <a:lt1>
        <a:srgbClr val="D7CDC8"/>
      </a:lt1>
      <a:dk2>
        <a:srgbClr val="0091D2"/>
      </a:dk2>
      <a:lt2>
        <a:srgbClr val="FFFFFF"/>
      </a:lt2>
      <a:accent1>
        <a:srgbClr val="FF4B00"/>
      </a:accent1>
      <a:accent2>
        <a:srgbClr val="E1E100"/>
      </a:accent2>
      <a:accent3>
        <a:srgbClr val="00AFB9"/>
      </a:accent3>
      <a:accent4>
        <a:srgbClr val="F06EB9"/>
      </a:accent4>
      <a:accent5>
        <a:srgbClr val="968C82"/>
      </a:accent5>
      <a:accent6>
        <a:srgbClr val="5FC5ED"/>
      </a:accent6>
      <a:hlink>
        <a:srgbClr val="0091D2"/>
      </a:hlink>
      <a:folHlink>
        <a:srgbClr val="D7006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emo-new-template-footer.pptx" id="{89392CCC-1780-443E-ABF5-988C42BEB418}" vid="{2DD8EA9F-404C-4E08-9660-E5ACE5A4FDBB}"/>
    </a:ext>
  </a:extLst>
</a:theme>
</file>

<file path=ppt/theme/theme12.xml><?xml version="1.0" encoding="utf-8"?>
<a:theme xmlns:a="http://schemas.openxmlformats.org/drawingml/2006/main" name="5_Cover with white logo and 5th element">
  <a:themeElements>
    <a:clrScheme name="HL DISPLAY NEW GRAPHIC PROFILE">
      <a:dk1>
        <a:srgbClr val="3C3C3C"/>
      </a:dk1>
      <a:lt1>
        <a:srgbClr val="D7CDC8"/>
      </a:lt1>
      <a:dk2>
        <a:srgbClr val="0091D2"/>
      </a:dk2>
      <a:lt2>
        <a:srgbClr val="FFFFFF"/>
      </a:lt2>
      <a:accent1>
        <a:srgbClr val="FF4B00"/>
      </a:accent1>
      <a:accent2>
        <a:srgbClr val="E1E100"/>
      </a:accent2>
      <a:accent3>
        <a:srgbClr val="00AFB9"/>
      </a:accent3>
      <a:accent4>
        <a:srgbClr val="F06EB9"/>
      </a:accent4>
      <a:accent5>
        <a:srgbClr val="968C82"/>
      </a:accent5>
      <a:accent6>
        <a:srgbClr val="5FC5ED"/>
      </a:accent6>
      <a:hlink>
        <a:srgbClr val="0091D2"/>
      </a:hlink>
      <a:folHlink>
        <a:srgbClr val="D7006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emo-new-template-footer.pptx" id="{89392CCC-1780-443E-ABF5-988C42BEB418}" vid="{2DD8EA9F-404C-4E08-9660-E5ACE5A4FDBB}"/>
    </a:ext>
  </a:extLst>
</a:theme>
</file>

<file path=ppt/theme/theme13.xml><?xml version="1.0" encoding="utf-8"?>
<a:theme xmlns:a="http://schemas.openxmlformats.org/drawingml/2006/main" name="6_Cover with white logo and 5th element">
  <a:themeElements>
    <a:clrScheme name="HL DISPLAY NEW GRAPHIC PROFILE">
      <a:dk1>
        <a:srgbClr val="3C3C3C"/>
      </a:dk1>
      <a:lt1>
        <a:srgbClr val="D7CDC8"/>
      </a:lt1>
      <a:dk2>
        <a:srgbClr val="0091D2"/>
      </a:dk2>
      <a:lt2>
        <a:srgbClr val="FFFFFF"/>
      </a:lt2>
      <a:accent1>
        <a:srgbClr val="FF4B00"/>
      </a:accent1>
      <a:accent2>
        <a:srgbClr val="E1E100"/>
      </a:accent2>
      <a:accent3>
        <a:srgbClr val="00AFB9"/>
      </a:accent3>
      <a:accent4>
        <a:srgbClr val="F06EB9"/>
      </a:accent4>
      <a:accent5>
        <a:srgbClr val="968C82"/>
      </a:accent5>
      <a:accent6>
        <a:srgbClr val="5FC5ED"/>
      </a:accent6>
      <a:hlink>
        <a:srgbClr val="0091D2"/>
      </a:hlink>
      <a:folHlink>
        <a:srgbClr val="D7006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HL PPT general template 2019.pptx" id="{3C3E48EC-9F35-4316-B55B-CAAC23B0C549}" vid="{63A10419-E79F-487D-AD8B-3E683F47BC68}"/>
    </a:ext>
  </a:extLst>
</a:theme>
</file>

<file path=ppt/theme/theme14.xml><?xml version="1.0" encoding="utf-8"?>
<a:theme xmlns:a="http://schemas.openxmlformats.org/drawingml/2006/main" name="7_Interior pages">
  <a:themeElements>
    <a:clrScheme name="Blue">
      <a:dk1>
        <a:srgbClr val="3C3C3C"/>
      </a:dk1>
      <a:lt1>
        <a:srgbClr val="D7CDC8"/>
      </a:lt1>
      <a:dk2>
        <a:srgbClr val="0091D2"/>
      </a:dk2>
      <a:lt2>
        <a:srgbClr val="FFFFFF"/>
      </a:lt2>
      <a:accent1>
        <a:srgbClr val="FF4B00"/>
      </a:accent1>
      <a:accent2>
        <a:srgbClr val="E1E100"/>
      </a:accent2>
      <a:accent3>
        <a:srgbClr val="00AFB9"/>
      </a:accent3>
      <a:accent4>
        <a:srgbClr val="F06EB9"/>
      </a:accent4>
      <a:accent5>
        <a:srgbClr val="968C82"/>
      </a:accent5>
      <a:accent6>
        <a:srgbClr val="D7006E"/>
      </a:accent6>
      <a:hlink>
        <a:srgbClr val="5FC5ED"/>
      </a:hlink>
      <a:folHlink>
        <a:srgbClr val="D7CDC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Blank.potx" id="{FBC04F02-2E7F-41D0-B657-B1D4181CA605}" vid="{00A83714-01A9-477C-AA4C-D3296F3D9639}"/>
    </a:ext>
  </a:extLst>
</a:theme>
</file>

<file path=ppt/theme/theme15.xml><?xml version="1.0" encoding="utf-8"?>
<a:theme xmlns:a="http://schemas.openxmlformats.org/drawingml/2006/main" name="8_Interior pages">
  <a:themeElements>
    <a:clrScheme name="Blue">
      <a:dk1>
        <a:srgbClr val="3C3C3C"/>
      </a:dk1>
      <a:lt1>
        <a:srgbClr val="D7CDC8"/>
      </a:lt1>
      <a:dk2>
        <a:srgbClr val="0091D2"/>
      </a:dk2>
      <a:lt2>
        <a:srgbClr val="FFFFFF"/>
      </a:lt2>
      <a:accent1>
        <a:srgbClr val="FF4B00"/>
      </a:accent1>
      <a:accent2>
        <a:srgbClr val="E1E100"/>
      </a:accent2>
      <a:accent3>
        <a:srgbClr val="00AFB9"/>
      </a:accent3>
      <a:accent4>
        <a:srgbClr val="F06EB9"/>
      </a:accent4>
      <a:accent5>
        <a:srgbClr val="968C82"/>
      </a:accent5>
      <a:accent6>
        <a:srgbClr val="D7006E"/>
      </a:accent6>
      <a:hlink>
        <a:srgbClr val="5FC5ED"/>
      </a:hlink>
      <a:folHlink>
        <a:srgbClr val="D7CDC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emo-new-template-footer.pptx" id="{89392CCC-1780-443E-ABF5-988C42BEB418}" vid="{858A3D80-5C4A-448A-8FBF-4C2796FEEE01}"/>
    </a:ext>
  </a:extLst>
</a:theme>
</file>

<file path=ppt/theme/theme16.xml><?xml version="1.0" encoding="utf-8"?>
<a:theme xmlns:a="http://schemas.openxmlformats.org/drawingml/2006/main" name="7_Cover with white logo and 5th element">
  <a:themeElements>
    <a:clrScheme name="HL DISPLAY NEW GRAPHIC PROFILE">
      <a:dk1>
        <a:srgbClr val="3C3C3C"/>
      </a:dk1>
      <a:lt1>
        <a:srgbClr val="D7CDC8"/>
      </a:lt1>
      <a:dk2>
        <a:srgbClr val="0091D2"/>
      </a:dk2>
      <a:lt2>
        <a:srgbClr val="FFFFFF"/>
      </a:lt2>
      <a:accent1>
        <a:srgbClr val="FF4B00"/>
      </a:accent1>
      <a:accent2>
        <a:srgbClr val="E1E100"/>
      </a:accent2>
      <a:accent3>
        <a:srgbClr val="00AFB9"/>
      </a:accent3>
      <a:accent4>
        <a:srgbClr val="F06EB9"/>
      </a:accent4>
      <a:accent5>
        <a:srgbClr val="968C82"/>
      </a:accent5>
      <a:accent6>
        <a:srgbClr val="5FC5ED"/>
      </a:accent6>
      <a:hlink>
        <a:srgbClr val="0091D2"/>
      </a:hlink>
      <a:folHlink>
        <a:srgbClr val="D7006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template 16-9.potx" id="{08637D1E-CA53-4F2D-A46F-7270FAC47DBB}" vid="{81E39CB0-694D-42B5-A70C-113F448A2CAC}"/>
    </a:ext>
  </a:extLst>
</a:theme>
</file>

<file path=ppt/theme/theme17.xml><?xml version="1.0" encoding="utf-8"?>
<a:theme xmlns:a="http://schemas.openxmlformats.org/drawingml/2006/main" name="8_Cover with white logo and 5th element">
  <a:themeElements>
    <a:clrScheme name="Blue">
      <a:dk1>
        <a:srgbClr val="3C3C3C"/>
      </a:dk1>
      <a:lt1>
        <a:srgbClr val="D7CDC8"/>
      </a:lt1>
      <a:dk2>
        <a:srgbClr val="0091D2"/>
      </a:dk2>
      <a:lt2>
        <a:srgbClr val="FFFFFF"/>
      </a:lt2>
      <a:accent1>
        <a:srgbClr val="FF4B00"/>
      </a:accent1>
      <a:accent2>
        <a:srgbClr val="E1E100"/>
      </a:accent2>
      <a:accent3>
        <a:srgbClr val="00AFB9"/>
      </a:accent3>
      <a:accent4>
        <a:srgbClr val="F06EB9"/>
      </a:accent4>
      <a:accent5>
        <a:srgbClr val="968C82"/>
      </a:accent5>
      <a:accent6>
        <a:srgbClr val="D7006E"/>
      </a:accent6>
      <a:hlink>
        <a:srgbClr val="5FC5ED"/>
      </a:hlink>
      <a:folHlink>
        <a:srgbClr val="D7CDC8"/>
      </a:folHlink>
    </a:clrScheme>
    <a:fontScheme name="H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HL PPT general template Sep 2019" id="{EE78B8E3-1FEA-4519-851B-C782C507001E}" vid="{CCC82853-1A1A-4DA4-BE6C-9EF325805B49}"/>
    </a:ext>
  </a:extLst>
</a:theme>
</file>

<file path=ppt/theme/theme18.xml><?xml version="1.0" encoding="utf-8"?>
<a:theme xmlns:a="http://schemas.openxmlformats.org/drawingml/2006/main" name="1_Interior pages">
  <a:themeElements>
    <a:clrScheme name="Custom 2">
      <a:dk1>
        <a:srgbClr val="3C3C3C"/>
      </a:dk1>
      <a:lt1>
        <a:srgbClr val="D7CDC8"/>
      </a:lt1>
      <a:dk2>
        <a:srgbClr val="0091D2"/>
      </a:dk2>
      <a:lt2>
        <a:srgbClr val="FFFFFF"/>
      </a:lt2>
      <a:accent1>
        <a:srgbClr val="E1E100"/>
      </a:accent1>
      <a:accent2>
        <a:srgbClr val="00AFB9"/>
      </a:accent2>
      <a:accent3>
        <a:srgbClr val="F06EB9"/>
      </a:accent3>
      <a:accent4>
        <a:srgbClr val="968C82"/>
      </a:accent4>
      <a:accent5>
        <a:srgbClr val="FEC00F"/>
      </a:accent5>
      <a:accent6>
        <a:srgbClr val="FF4B00"/>
      </a:accent6>
      <a:hlink>
        <a:srgbClr val="0091D2"/>
      </a:hlink>
      <a:folHlink>
        <a:srgbClr val="968C82"/>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HL PPT general template Sep 2019" id="{EE78B8E3-1FEA-4519-851B-C782C507001E}" vid="{69481C52-C9E9-48E4-9240-49AB073AE3D5}"/>
    </a:ext>
  </a:extLst>
</a:theme>
</file>

<file path=ppt/theme/theme19.xml><?xml version="1.0" encoding="utf-8"?>
<a:theme xmlns:a="http://schemas.openxmlformats.org/drawingml/2006/main" name="9_Cover with white logo and 5th element">
  <a:themeElements>
    <a:clrScheme name="HL DISPLAY NEW GRAPHIC PROFILE">
      <a:dk1>
        <a:srgbClr val="3C3C3C"/>
      </a:dk1>
      <a:lt1>
        <a:srgbClr val="D7CDC8"/>
      </a:lt1>
      <a:dk2>
        <a:srgbClr val="0091D2"/>
      </a:dk2>
      <a:lt2>
        <a:srgbClr val="FFFFFF"/>
      </a:lt2>
      <a:accent1>
        <a:srgbClr val="FF4B00"/>
      </a:accent1>
      <a:accent2>
        <a:srgbClr val="E1E100"/>
      </a:accent2>
      <a:accent3>
        <a:srgbClr val="00AFB9"/>
      </a:accent3>
      <a:accent4>
        <a:srgbClr val="F06EB9"/>
      </a:accent4>
      <a:accent5>
        <a:srgbClr val="968C82"/>
      </a:accent5>
      <a:accent6>
        <a:srgbClr val="5FC5ED"/>
      </a:accent6>
      <a:hlink>
        <a:srgbClr val="0091D2"/>
      </a:hlink>
      <a:folHlink>
        <a:srgbClr val="D7006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HL PPT general template 2019.pptx" id="{3C3E48EC-9F35-4316-B55B-CAAC23B0C549}" vid="{63A10419-E79F-487D-AD8B-3E683F47BC68}"/>
    </a:ext>
  </a:extLst>
</a:theme>
</file>

<file path=ppt/theme/theme2.xml><?xml version="1.0" encoding="utf-8"?>
<a:theme xmlns:a="http://schemas.openxmlformats.org/drawingml/2006/main" name="Interior pages">
  <a:themeElements>
    <a:clrScheme name="Blue">
      <a:dk1>
        <a:srgbClr val="3C3C3C"/>
      </a:dk1>
      <a:lt1>
        <a:srgbClr val="D7CDC8"/>
      </a:lt1>
      <a:dk2>
        <a:srgbClr val="0091D2"/>
      </a:dk2>
      <a:lt2>
        <a:srgbClr val="FFFFFF"/>
      </a:lt2>
      <a:accent1>
        <a:srgbClr val="FF4B00"/>
      </a:accent1>
      <a:accent2>
        <a:srgbClr val="E1E100"/>
      </a:accent2>
      <a:accent3>
        <a:srgbClr val="00AFB9"/>
      </a:accent3>
      <a:accent4>
        <a:srgbClr val="F06EB9"/>
      </a:accent4>
      <a:accent5>
        <a:srgbClr val="968C82"/>
      </a:accent5>
      <a:accent6>
        <a:srgbClr val="D7006E"/>
      </a:accent6>
      <a:hlink>
        <a:srgbClr val="5FC5ED"/>
      </a:hlink>
      <a:folHlink>
        <a:srgbClr val="D7CDC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emo-new-template-footer.pptx" id="{89392CCC-1780-443E-ABF5-988C42BEB418}" vid="{858A3D80-5C4A-448A-8FBF-4C2796FEEE01}"/>
    </a:ext>
  </a:extLst>
</a:theme>
</file>

<file path=ppt/theme/theme20.xml><?xml version="1.0" encoding="utf-8"?>
<a:theme xmlns:a="http://schemas.openxmlformats.org/drawingml/2006/main" name="4_Interior pages">
  <a:themeElements>
    <a:clrScheme name="Blue">
      <a:dk1>
        <a:srgbClr val="3C3C3C"/>
      </a:dk1>
      <a:lt1>
        <a:srgbClr val="D7CDC8"/>
      </a:lt1>
      <a:dk2>
        <a:srgbClr val="0091D2"/>
      </a:dk2>
      <a:lt2>
        <a:srgbClr val="FFFFFF"/>
      </a:lt2>
      <a:accent1>
        <a:srgbClr val="FF4B00"/>
      </a:accent1>
      <a:accent2>
        <a:srgbClr val="E1E100"/>
      </a:accent2>
      <a:accent3>
        <a:srgbClr val="00AFB9"/>
      </a:accent3>
      <a:accent4>
        <a:srgbClr val="F06EB9"/>
      </a:accent4>
      <a:accent5>
        <a:srgbClr val="968C82"/>
      </a:accent5>
      <a:accent6>
        <a:srgbClr val="D7006E"/>
      </a:accent6>
      <a:hlink>
        <a:srgbClr val="5FC5ED"/>
      </a:hlink>
      <a:folHlink>
        <a:srgbClr val="D7CDC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HL PPT general template 2019.pptx" id="{3C3E48EC-9F35-4316-B55B-CAAC23B0C549}" vid="{66AAE618-DEAF-43DD-BD4C-9DD0A72046FD}"/>
    </a:ext>
  </a:extLst>
</a:theme>
</file>

<file path=ppt/theme/theme21.xml><?xml version="1.0" encoding="utf-8"?>
<a:theme xmlns:a="http://schemas.openxmlformats.org/drawingml/2006/main" name="9_Interior pages">
  <a:themeElements>
    <a:clrScheme name="Blue">
      <a:dk1>
        <a:srgbClr val="3C3C3C"/>
      </a:dk1>
      <a:lt1>
        <a:srgbClr val="D7CDC8"/>
      </a:lt1>
      <a:dk2>
        <a:srgbClr val="0091D2"/>
      </a:dk2>
      <a:lt2>
        <a:srgbClr val="FFFFFF"/>
      </a:lt2>
      <a:accent1>
        <a:srgbClr val="FF4B00"/>
      </a:accent1>
      <a:accent2>
        <a:srgbClr val="E1E100"/>
      </a:accent2>
      <a:accent3>
        <a:srgbClr val="00AFB9"/>
      </a:accent3>
      <a:accent4>
        <a:srgbClr val="F06EB9"/>
      </a:accent4>
      <a:accent5>
        <a:srgbClr val="968C82"/>
      </a:accent5>
      <a:accent6>
        <a:srgbClr val="D7006E"/>
      </a:accent6>
      <a:hlink>
        <a:srgbClr val="5FC5ED"/>
      </a:hlink>
      <a:folHlink>
        <a:srgbClr val="D7CDC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HL General PPT template sept 2017.potx" id="{8FB7ACB5-722E-4089-9D1A-DDA22123AC8F}" vid="{CACA4DD1-B3D8-418C-9796-37BAB8E64486}"/>
    </a:ext>
  </a:extLst>
</a:theme>
</file>

<file path=ppt/theme/theme22.xml><?xml version="1.0" encoding="utf-8"?>
<a:theme xmlns:a="http://schemas.openxmlformats.org/drawingml/2006/main" name="12_Interior pages">
  <a:themeElements>
    <a:clrScheme name="Custom 2">
      <a:dk1>
        <a:srgbClr val="3C3C3C"/>
      </a:dk1>
      <a:lt1>
        <a:srgbClr val="D7CDC8"/>
      </a:lt1>
      <a:dk2>
        <a:srgbClr val="0091D2"/>
      </a:dk2>
      <a:lt2>
        <a:srgbClr val="FFFFFF"/>
      </a:lt2>
      <a:accent1>
        <a:srgbClr val="E1E100"/>
      </a:accent1>
      <a:accent2>
        <a:srgbClr val="00AFB9"/>
      </a:accent2>
      <a:accent3>
        <a:srgbClr val="F06EB9"/>
      </a:accent3>
      <a:accent4>
        <a:srgbClr val="968C82"/>
      </a:accent4>
      <a:accent5>
        <a:srgbClr val="FEC00F"/>
      </a:accent5>
      <a:accent6>
        <a:srgbClr val="FF4B00"/>
      </a:accent6>
      <a:hlink>
        <a:srgbClr val="0091D2"/>
      </a:hlink>
      <a:folHlink>
        <a:srgbClr val="968C82"/>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HL PPT general template Sep 2019" id="{EE78B8E3-1FEA-4519-851B-C782C507001E}" vid="{69481C52-C9E9-48E4-9240-49AB073AE3D5}"/>
    </a:ext>
  </a:extLst>
</a:theme>
</file>

<file path=ppt/theme/theme23.xml><?xml version="1.0" encoding="utf-8"?>
<a:theme xmlns:a="http://schemas.openxmlformats.org/drawingml/2006/main" name="10_Interior pages">
  <a:themeElements>
    <a:clrScheme name="Blue">
      <a:dk1>
        <a:srgbClr val="3C3C3C"/>
      </a:dk1>
      <a:lt1>
        <a:srgbClr val="D7CDC8"/>
      </a:lt1>
      <a:dk2>
        <a:srgbClr val="0091D2"/>
      </a:dk2>
      <a:lt2>
        <a:srgbClr val="FFFFFF"/>
      </a:lt2>
      <a:accent1>
        <a:srgbClr val="FF4B00"/>
      </a:accent1>
      <a:accent2>
        <a:srgbClr val="E1E100"/>
      </a:accent2>
      <a:accent3>
        <a:srgbClr val="00AFB9"/>
      </a:accent3>
      <a:accent4>
        <a:srgbClr val="F06EB9"/>
      </a:accent4>
      <a:accent5>
        <a:srgbClr val="968C82"/>
      </a:accent5>
      <a:accent6>
        <a:srgbClr val="D7006E"/>
      </a:accent6>
      <a:hlink>
        <a:srgbClr val="5FC5ED"/>
      </a:hlink>
      <a:folHlink>
        <a:srgbClr val="D7CDC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HL General PPT template sept 2017.potx" id="{8FB7ACB5-722E-4089-9D1A-DDA22123AC8F}" vid="{CACA4DD1-B3D8-418C-9796-37BAB8E64486}"/>
    </a:ext>
  </a:extLst>
</a:theme>
</file>

<file path=ppt/theme/theme24.xml><?xml version="1.0" encoding="utf-8"?>
<a:theme xmlns:a="http://schemas.openxmlformats.org/drawingml/2006/main" name="15_Interior pages">
  <a:themeElements>
    <a:clrScheme name="HL Colors">
      <a:dk1>
        <a:srgbClr val="3C3C3C"/>
      </a:dk1>
      <a:lt1>
        <a:srgbClr val="D7CDC8"/>
      </a:lt1>
      <a:dk2>
        <a:srgbClr val="0091D2"/>
      </a:dk2>
      <a:lt2>
        <a:srgbClr val="FFFFFF"/>
      </a:lt2>
      <a:accent1>
        <a:srgbClr val="E1E100"/>
      </a:accent1>
      <a:accent2>
        <a:srgbClr val="00AFB9"/>
      </a:accent2>
      <a:accent3>
        <a:srgbClr val="F06EB9"/>
      </a:accent3>
      <a:accent4>
        <a:srgbClr val="968C82"/>
      </a:accent4>
      <a:accent5>
        <a:srgbClr val="FEC00F"/>
      </a:accent5>
      <a:accent6>
        <a:srgbClr val="FF4B00"/>
      </a:accent6>
      <a:hlink>
        <a:srgbClr val="0091D2"/>
      </a:hlink>
      <a:folHlink>
        <a:srgbClr val="968C82"/>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HL PPT general template Oct 2019.pptx" id="{8F115B4B-22C1-47CE-BFC9-79FED48640D5}" vid="{59DC5512-4BA5-4476-898A-BDCE816185CE}"/>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Cover with white logo and 5th element">
  <a:themeElements>
    <a:clrScheme name="HL DISPLAY NEW GRAPHIC PROFILE">
      <a:dk1>
        <a:srgbClr val="3C3C3C"/>
      </a:dk1>
      <a:lt1>
        <a:srgbClr val="D7CDC8"/>
      </a:lt1>
      <a:dk2>
        <a:srgbClr val="0091D2"/>
      </a:dk2>
      <a:lt2>
        <a:srgbClr val="FFFFFF"/>
      </a:lt2>
      <a:accent1>
        <a:srgbClr val="FF4B00"/>
      </a:accent1>
      <a:accent2>
        <a:srgbClr val="E1E100"/>
      </a:accent2>
      <a:accent3>
        <a:srgbClr val="00AFB9"/>
      </a:accent3>
      <a:accent4>
        <a:srgbClr val="F06EB9"/>
      </a:accent4>
      <a:accent5>
        <a:srgbClr val="968C82"/>
      </a:accent5>
      <a:accent6>
        <a:srgbClr val="5FC5ED"/>
      </a:accent6>
      <a:hlink>
        <a:srgbClr val="0091D2"/>
      </a:hlink>
      <a:folHlink>
        <a:srgbClr val="D7006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Cover with white logo and 5th element">
  <a:themeElements>
    <a:clrScheme name="HL DISPLAY NEW GRAPHIC PROFILE">
      <a:dk1>
        <a:srgbClr val="3C3C3C"/>
      </a:dk1>
      <a:lt1>
        <a:srgbClr val="D7CDC8"/>
      </a:lt1>
      <a:dk2>
        <a:srgbClr val="0091D2"/>
      </a:dk2>
      <a:lt2>
        <a:srgbClr val="FFFFFF"/>
      </a:lt2>
      <a:accent1>
        <a:srgbClr val="FF4B00"/>
      </a:accent1>
      <a:accent2>
        <a:srgbClr val="E1E100"/>
      </a:accent2>
      <a:accent3>
        <a:srgbClr val="00AFB9"/>
      </a:accent3>
      <a:accent4>
        <a:srgbClr val="F06EB9"/>
      </a:accent4>
      <a:accent5>
        <a:srgbClr val="968C82"/>
      </a:accent5>
      <a:accent6>
        <a:srgbClr val="5FC5ED"/>
      </a:accent6>
      <a:hlink>
        <a:srgbClr val="0091D2"/>
      </a:hlink>
      <a:folHlink>
        <a:srgbClr val="D7006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emo-new-template-footer.pptx" id="{89392CCC-1780-443E-ABF5-988C42BEB418}" vid="{2DD8EA9F-404C-4E08-9660-E5ACE5A4FDBB}"/>
    </a:ext>
  </a:extLst>
</a:theme>
</file>

<file path=ppt/theme/theme5.xml><?xml version="1.0" encoding="utf-8"?>
<a:theme xmlns:a="http://schemas.openxmlformats.org/drawingml/2006/main" name="5_Interior pages">
  <a:themeElements>
    <a:clrScheme name="Blue">
      <a:dk1>
        <a:srgbClr val="3C3C3C"/>
      </a:dk1>
      <a:lt1>
        <a:srgbClr val="D7CDC8"/>
      </a:lt1>
      <a:dk2>
        <a:srgbClr val="0091D2"/>
      </a:dk2>
      <a:lt2>
        <a:srgbClr val="FFFFFF"/>
      </a:lt2>
      <a:accent1>
        <a:srgbClr val="FF4B00"/>
      </a:accent1>
      <a:accent2>
        <a:srgbClr val="E1E100"/>
      </a:accent2>
      <a:accent3>
        <a:srgbClr val="00AFB9"/>
      </a:accent3>
      <a:accent4>
        <a:srgbClr val="F06EB9"/>
      </a:accent4>
      <a:accent5>
        <a:srgbClr val="968C82"/>
      </a:accent5>
      <a:accent6>
        <a:srgbClr val="D7006E"/>
      </a:accent6>
      <a:hlink>
        <a:srgbClr val="5FC5ED"/>
      </a:hlink>
      <a:folHlink>
        <a:srgbClr val="D7CDC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emo-new-template-footer.pptx" id="{89392CCC-1780-443E-ABF5-988C42BEB418}" vid="{858A3D80-5C4A-448A-8FBF-4C2796FEEE01}"/>
    </a:ext>
  </a:extLst>
</a:theme>
</file>

<file path=ppt/theme/theme6.xml><?xml version="1.0" encoding="utf-8"?>
<a:theme xmlns:a="http://schemas.openxmlformats.org/drawingml/2006/main" name="12_Cover with white logo and 5th element">
  <a:themeElements>
    <a:clrScheme name="HL DISPLAY NEW GRAPHIC PROFILE">
      <a:dk1>
        <a:srgbClr val="3C3C3C"/>
      </a:dk1>
      <a:lt1>
        <a:srgbClr val="D7CDC8"/>
      </a:lt1>
      <a:dk2>
        <a:srgbClr val="0091D2"/>
      </a:dk2>
      <a:lt2>
        <a:srgbClr val="FFFFFF"/>
      </a:lt2>
      <a:accent1>
        <a:srgbClr val="FF4B00"/>
      </a:accent1>
      <a:accent2>
        <a:srgbClr val="E1E100"/>
      </a:accent2>
      <a:accent3>
        <a:srgbClr val="00AFB9"/>
      </a:accent3>
      <a:accent4>
        <a:srgbClr val="F06EB9"/>
      </a:accent4>
      <a:accent5>
        <a:srgbClr val="968C82"/>
      </a:accent5>
      <a:accent6>
        <a:srgbClr val="5FC5ED"/>
      </a:accent6>
      <a:hlink>
        <a:srgbClr val="0091D2"/>
      </a:hlink>
      <a:folHlink>
        <a:srgbClr val="D7006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Interior pages">
  <a:themeElements>
    <a:clrScheme name="Blue">
      <a:dk1>
        <a:srgbClr val="3C3C3C"/>
      </a:dk1>
      <a:lt1>
        <a:srgbClr val="D7CDC8"/>
      </a:lt1>
      <a:dk2>
        <a:srgbClr val="0091D2"/>
      </a:dk2>
      <a:lt2>
        <a:srgbClr val="FFFFFF"/>
      </a:lt2>
      <a:accent1>
        <a:srgbClr val="FF4B00"/>
      </a:accent1>
      <a:accent2>
        <a:srgbClr val="E1E100"/>
      </a:accent2>
      <a:accent3>
        <a:srgbClr val="00AFB9"/>
      </a:accent3>
      <a:accent4>
        <a:srgbClr val="F06EB9"/>
      </a:accent4>
      <a:accent5>
        <a:srgbClr val="968C82"/>
      </a:accent5>
      <a:accent6>
        <a:srgbClr val="D7006E"/>
      </a:accent6>
      <a:hlink>
        <a:srgbClr val="5FC5ED"/>
      </a:hlink>
      <a:folHlink>
        <a:srgbClr val="D7CDC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HL General PPT template sept 2017.potx" id="{8FB7ACB5-722E-4089-9D1A-DDA22123AC8F}" vid="{CACA4DD1-B3D8-418C-9796-37BAB8E64486}"/>
    </a:ext>
  </a:extLst>
</a:theme>
</file>

<file path=ppt/theme/theme8.xml><?xml version="1.0" encoding="utf-8"?>
<a:theme xmlns:a="http://schemas.openxmlformats.org/drawingml/2006/main" name="2_Cover with white logo and 5th element">
  <a:themeElements>
    <a:clrScheme name="HL DISPLAY NEW GRAPHIC PROFILE">
      <a:dk1>
        <a:srgbClr val="3C3C3C"/>
      </a:dk1>
      <a:lt1>
        <a:srgbClr val="D7CDC8"/>
      </a:lt1>
      <a:dk2>
        <a:srgbClr val="0091D2"/>
      </a:dk2>
      <a:lt2>
        <a:srgbClr val="FFFFFF"/>
      </a:lt2>
      <a:accent1>
        <a:srgbClr val="FF4B00"/>
      </a:accent1>
      <a:accent2>
        <a:srgbClr val="E1E100"/>
      </a:accent2>
      <a:accent3>
        <a:srgbClr val="00AFB9"/>
      </a:accent3>
      <a:accent4>
        <a:srgbClr val="F06EB9"/>
      </a:accent4>
      <a:accent5>
        <a:srgbClr val="968C82"/>
      </a:accent5>
      <a:accent6>
        <a:srgbClr val="5FC5ED"/>
      </a:accent6>
      <a:hlink>
        <a:srgbClr val="0091D2"/>
      </a:hlink>
      <a:folHlink>
        <a:srgbClr val="D7006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emo-new-template-footer.pptx" id="{89392CCC-1780-443E-ABF5-988C42BEB418}" vid="{2DD8EA9F-404C-4E08-9660-E5ACE5A4FDBB}"/>
    </a:ext>
  </a:extLst>
</a:theme>
</file>

<file path=ppt/theme/theme9.xml><?xml version="1.0" encoding="utf-8"?>
<a:theme xmlns:a="http://schemas.openxmlformats.org/drawingml/2006/main" name="6_Interior pages">
  <a:themeElements>
    <a:clrScheme name="Blue">
      <a:dk1>
        <a:srgbClr val="3C3C3C"/>
      </a:dk1>
      <a:lt1>
        <a:srgbClr val="D7CDC8"/>
      </a:lt1>
      <a:dk2>
        <a:srgbClr val="0091D2"/>
      </a:dk2>
      <a:lt2>
        <a:srgbClr val="FFFFFF"/>
      </a:lt2>
      <a:accent1>
        <a:srgbClr val="FF4B00"/>
      </a:accent1>
      <a:accent2>
        <a:srgbClr val="E1E100"/>
      </a:accent2>
      <a:accent3>
        <a:srgbClr val="00AFB9"/>
      </a:accent3>
      <a:accent4>
        <a:srgbClr val="F06EB9"/>
      </a:accent4>
      <a:accent5>
        <a:srgbClr val="968C82"/>
      </a:accent5>
      <a:accent6>
        <a:srgbClr val="D7006E"/>
      </a:accent6>
      <a:hlink>
        <a:srgbClr val="5FC5ED"/>
      </a:hlink>
      <a:folHlink>
        <a:srgbClr val="D7CDC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Blank.potx" id="{FBC04F02-2E7F-41D0-B657-B1D4181CA605}" vid="{00A83714-01A9-477C-AA4C-D3296F3D963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AB30B705F41E134ABD8833F9F303B0CC" ma:contentTypeVersion="13" ma:contentTypeDescription="Skapa ett nytt dokument." ma:contentTypeScope="" ma:versionID="bd41856197094c8067b781920cf001cd">
  <xsd:schema xmlns:xsd="http://www.w3.org/2001/XMLSchema" xmlns:xs="http://www.w3.org/2001/XMLSchema" xmlns:p="http://schemas.microsoft.com/office/2006/metadata/properties" xmlns:ns3="296b3938-0638-4256-bdab-22a124373669" xmlns:ns4="596a3aad-e0d7-46a4-9740-88518cea2076" targetNamespace="http://schemas.microsoft.com/office/2006/metadata/properties" ma:root="true" ma:fieldsID="16642184ce4bb908e9b9750980e20167" ns3:_="" ns4:_="">
    <xsd:import namespace="296b3938-0638-4256-bdab-22a124373669"/>
    <xsd:import namespace="596a3aad-e0d7-46a4-9740-88518cea2076"/>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DateTaken" minOccurs="0"/>
                <xsd:element ref="ns4:SharedWithUsers" minOccurs="0"/>
                <xsd:element ref="ns4:SharedWithDetails" minOccurs="0"/>
                <xsd:element ref="ns4:SharingHintHash" minOccurs="0"/>
                <xsd:element ref="ns3:MediaServiceOCR" minOccurs="0"/>
                <xsd:element ref="ns3:MediaServiceLocatio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6b3938-0638-4256-bdab-22a12437366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96a3aad-e0d7-46a4-9740-88518cea2076" elementFormDefault="qualified">
    <xsd:import namespace="http://schemas.microsoft.com/office/2006/documentManagement/types"/>
    <xsd:import namespace="http://schemas.microsoft.com/office/infopath/2007/PartnerControls"/>
    <xsd:element name="SharedWithUsers" ma:index="12"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lat med information" ma:internalName="SharedWithDetails" ma:readOnly="true">
      <xsd:simpleType>
        <xsd:restriction base="dms:Note">
          <xsd:maxLength value="255"/>
        </xsd:restriction>
      </xsd:simpleType>
    </xsd:element>
    <xsd:element name="SharingHintHash" ma:index="14" nillable="true" ma:displayName="Delar tips,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D095FD7-285E-4AE2-940A-E23C1DD4A5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6b3938-0638-4256-bdab-22a124373669"/>
    <ds:schemaRef ds:uri="596a3aad-e0d7-46a4-9740-88518cea207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94CDF69-D003-4D77-8CC8-54328AA31D10}">
  <ds:schemaRefs>
    <ds:schemaRef ds:uri="http://schemas.microsoft.com/sharepoint/v3/contenttype/forms"/>
  </ds:schemaRefs>
</ds:datastoreItem>
</file>

<file path=customXml/itemProps3.xml><?xml version="1.0" encoding="utf-8"?>
<ds:datastoreItem xmlns:ds="http://schemas.openxmlformats.org/officeDocument/2006/customXml" ds:itemID="{B9C60D2E-8C9A-4F70-B412-BCBDFA53A2FE}">
  <ds:schemaRefs>
    <ds:schemaRef ds:uri="http://www.w3.org/XML/1998/namespace"/>
    <ds:schemaRef ds:uri="http://purl.org/dc/terms/"/>
    <ds:schemaRef ds:uri="http://schemas.microsoft.com/office/2006/documentManagement/types"/>
    <ds:schemaRef ds:uri="296b3938-0638-4256-bdab-22a124373669"/>
    <ds:schemaRef ds:uri="http://schemas.openxmlformats.org/package/2006/metadata/core-properties"/>
    <ds:schemaRef ds:uri="http://purl.org/dc/dcmitype/"/>
    <ds:schemaRef ds:uri="http://schemas.microsoft.com/office/2006/metadata/properties"/>
    <ds:schemaRef ds:uri="http://purl.org/dc/elements/1.1/"/>
    <ds:schemaRef ds:uri="596a3aad-e0d7-46a4-9740-88518cea2076"/>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0</TotalTime>
  <Words>381</Words>
  <Application>Microsoft Office PowerPoint</Application>
  <PresentationFormat>Custom</PresentationFormat>
  <Paragraphs>52</Paragraphs>
  <Slides>19</Slides>
  <Notes>1</Notes>
  <HiddenSlides>0</HiddenSlides>
  <MMClips>0</MMClips>
  <ScaleCrop>false</ScaleCrop>
  <HeadingPairs>
    <vt:vector size="8" baseType="variant">
      <vt:variant>
        <vt:lpstr>Fonts Used</vt:lpstr>
      </vt:variant>
      <vt:variant>
        <vt:i4>4</vt:i4>
      </vt:variant>
      <vt:variant>
        <vt:lpstr>Theme</vt:lpstr>
      </vt:variant>
      <vt:variant>
        <vt:i4>24</vt:i4>
      </vt:variant>
      <vt:variant>
        <vt:lpstr>Embedded OLE Servers</vt:lpstr>
      </vt:variant>
      <vt:variant>
        <vt:i4>2</vt:i4>
      </vt:variant>
      <vt:variant>
        <vt:lpstr>Slide Titles</vt:lpstr>
      </vt:variant>
      <vt:variant>
        <vt:i4>19</vt:i4>
      </vt:variant>
    </vt:vector>
  </HeadingPairs>
  <TitlesOfParts>
    <vt:vector size="49" baseType="lpstr">
      <vt:lpstr>Arial</vt:lpstr>
      <vt:lpstr>Calibri</vt:lpstr>
      <vt:lpstr>Helvetica LT Std Light</vt:lpstr>
      <vt:lpstr>HelveticaNeueLT Std Med</vt:lpstr>
      <vt:lpstr>Cover with white logo and 5th element</vt:lpstr>
      <vt:lpstr>Interior pages</vt:lpstr>
      <vt:lpstr>1_Cover with white logo and 5th element</vt:lpstr>
      <vt:lpstr>3_Cover with white logo and 5th element</vt:lpstr>
      <vt:lpstr>5_Interior pages</vt:lpstr>
      <vt:lpstr>12_Cover with white logo and 5th element</vt:lpstr>
      <vt:lpstr>3_Interior pages</vt:lpstr>
      <vt:lpstr>2_Cover with white logo and 5th element</vt:lpstr>
      <vt:lpstr>6_Interior pages</vt:lpstr>
      <vt:lpstr>2_Interior pages</vt:lpstr>
      <vt:lpstr>4_Cover with white logo and 5th element</vt:lpstr>
      <vt:lpstr>5_Cover with white logo and 5th element</vt:lpstr>
      <vt:lpstr>6_Cover with white logo and 5th element</vt:lpstr>
      <vt:lpstr>7_Interior pages</vt:lpstr>
      <vt:lpstr>8_Interior pages</vt:lpstr>
      <vt:lpstr>7_Cover with white logo and 5th element</vt:lpstr>
      <vt:lpstr>8_Cover with white logo and 5th element</vt:lpstr>
      <vt:lpstr>1_Interior pages</vt:lpstr>
      <vt:lpstr>9_Cover with white logo and 5th element</vt:lpstr>
      <vt:lpstr>4_Interior pages</vt:lpstr>
      <vt:lpstr>9_Interior pages</vt:lpstr>
      <vt:lpstr>12_Interior pages</vt:lpstr>
      <vt:lpstr>10_Interior pages</vt:lpstr>
      <vt:lpstr>15_Interior pages</vt:lpstr>
      <vt:lpstr>think-cell Slide</vt:lpstr>
      <vt:lpstr>Worksheet</vt:lpstr>
      <vt:lpstr>Hygienic Stand  </vt:lpstr>
      <vt:lpstr>HL Display Hygienic Stand</vt:lpstr>
      <vt:lpstr>Accessoires</vt:lpstr>
      <vt:lpstr>Example 1</vt:lpstr>
      <vt:lpstr>Hygienic Stand TALL version</vt:lpstr>
      <vt:lpstr>Hygienic Stand TALL version</vt:lpstr>
      <vt:lpstr>Hygienic Stand TALL version</vt:lpstr>
      <vt:lpstr>Hygienic Stand TALL version</vt:lpstr>
      <vt:lpstr>Hygienic Stand TALL version</vt:lpstr>
      <vt:lpstr>Hygienic Stand TALL version</vt:lpstr>
      <vt:lpstr>Hygienic Stand TALL version</vt:lpstr>
      <vt:lpstr>Hygienic Stand TALL version</vt:lpstr>
      <vt:lpstr>Example 2</vt:lpstr>
      <vt:lpstr>Hygienic Stand SHORT version</vt:lpstr>
      <vt:lpstr>Hygienic Stand SHORT version</vt:lpstr>
      <vt:lpstr>Hygienic Stand SHORT version</vt:lpstr>
      <vt:lpstr>Example 3</vt:lpstr>
      <vt:lpstr>RAL Colors</vt:lpstr>
      <vt:lpstr>PowerPoint Presentation</vt:lpstr>
    </vt:vector>
  </TitlesOfParts>
  <Company>HL-Displa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misse Béatrice (STO)</dc:creator>
  <cp:lastModifiedBy>Martin Filzmair</cp:lastModifiedBy>
  <cp:revision>105</cp:revision>
  <cp:lastPrinted>2020-04-07T07:01:09Z</cp:lastPrinted>
  <dcterms:created xsi:type="dcterms:W3CDTF">2017-04-24T14:21:30Z</dcterms:created>
  <dcterms:modified xsi:type="dcterms:W3CDTF">2020-04-16T17:21: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B30B705F41E134ABD8833F9F303B0CC</vt:lpwstr>
  </property>
</Properties>
</file>